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3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36.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37.xml" ContentType="application/vnd.openxmlformats-officedocument.presentationml.tags+xml"/>
  <Override PartName="/ppt/charts/chart21.xml" ContentType="application/vnd.openxmlformats-officedocument.drawingml.chart+xml"/>
  <Override PartName="/ppt/tags/tag38.xml" ContentType="application/vnd.openxmlformats-officedocument.presentationml.tags+xml"/>
  <Override PartName="/ppt/charts/chart22.xml" ContentType="application/vnd.openxmlformats-officedocument.drawingml.chart+xml"/>
  <Override PartName="/ppt/tags/tag39.xml" ContentType="application/vnd.openxmlformats-officedocument.presentationml.tags+xml"/>
  <Override PartName="/ppt/charts/chart23.xml" ContentType="application/vnd.openxmlformats-officedocument.drawingml.chart+xml"/>
  <Override PartName="/ppt/tags/tag40.xml" ContentType="application/vnd.openxmlformats-officedocument.presentationml.tags+xml"/>
  <Override PartName="/ppt/charts/chart24.xml" ContentType="application/vnd.openxmlformats-officedocument.drawingml.chart+xml"/>
  <Override PartName="/ppt/tags/tag41.xml" ContentType="application/vnd.openxmlformats-officedocument.presentationml.tags+xml"/>
  <Override PartName="/ppt/charts/chart25.xml" ContentType="application/vnd.openxmlformats-officedocument.drawingml.chart+xml"/>
  <Override PartName="/ppt/tags/tag42.xml" ContentType="application/vnd.openxmlformats-officedocument.presentationml.tags+xml"/>
  <Override PartName="/ppt/charts/chart26.xml" ContentType="application/vnd.openxmlformats-officedocument.drawingml.chart+xml"/>
  <Override PartName="/ppt/tags/tag43.xml" ContentType="application/vnd.openxmlformats-officedocument.presentationml.tags+xml"/>
  <Override PartName="/ppt/charts/chart27.xml" ContentType="application/vnd.openxmlformats-officedocument.drawingml.chart+xml"/>
  <Override PartName="/ppt/tags/tag44.xml" ContentType="application/vnd.openxmlformats-officedocument.presentationml.tags+xml"/>
  <Override PartName="/ppt/charts/chart28.xml" ContentType="application/vnd.openxmlformats-officedocument.drawingml.chart+xml"/>
  <Override PartName="/ppt/tags/tag45.xml" ContentType="application/vnd.openxmlformats-officedocument.presentationml.tags+xml"/>
  <Override PartName="/ppt/charts/chart29.xml" ContentType="application/vnd.openxmlformats-officedocument.drawingml.chart+xml"/>
  <Override PartName="/ppt/tags/tag46.xml" ContentType="application/vnd.openxmlformats-officedocument.presentationml.tags+xml"/>
  <Override PartName="/ppt/charts/chart30.xml" ContentType="application/vnd.openxmlformats-officedocument.drawingml.chart+xml"/>
  <Override PartName="/ppt/tags/tag47.xml" ContentType="application/vnd.openxmlformats-officedocument.presentationml.tags+xml"/>
  <Override PartName="/ppt/charts/chart31.xml" ContentType="application/vnd.openxmlformats-officedocument.drawingml.chart+xml"/>
  <Override PartName="/ppt/tags/tag48.xml" ContentType="application/vnd.openxmlformats-officedocument.presentationml.tags+xml"/>
  <Override PartName="/ppt/charts/chart32.xml" ContentType="application/vnd.openxmlformats-officedocument.drawingml.chart+xml"/>
  <Override PartName="/ppt/tags/tag49.xml" ContentType="application/vnd.openxmlformats-officedocument.presentationml.tags+xml"/>
  <Override PartName="/ppt/charts/chart33.xml" ContentType="application/vnd.openxmlformats-officedocument.drawingml.chart+xml"/>
  <Override PartName="/ppt/tags/tag50.xml" ContentType="application/vnd.openxmlformats-officedocument.presentationml.tags+xml"/>
  <Override PartName="/ppt/charts/chart34.xml" ContentType="application/vnd.openxmlformats-officedocument.drawingml.chart+xml"/>
  <Override PartName="/ppt/tags/tag51.xml" ContentType="application/vnd.openxmlformats-officedocument.presentationml.tags+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tags/tag53.xml" ContentType="application/vnd.openxmlformats-officedocument.presentationml.tags+xml"/>
  <Override PartName="/ppt/charts/chart37.xml" ContentType="application/vnd.openxmlformats-officedocument.drawingml.chart+xml"/>
  <Override PartName="/ppt/tags/tag54.xml" ContentType="application/vnd.openxmlformats-officedocument.presentationml.tags+xml"/>
  <Override PartName="/ppt/charts/chart38.xml" ContentType="application/vnd.openxmlformats-officedocument.drawingml.chart+xml"/>
  <Override PartName="/ppt/tags/tag55.xml" ContentType="application/vnd.openxmlformats-officedocument.presentationml.tags+xml"/>
  <Override PartName="/ppt/charts/chart39.xml" ContentType="application/vnd.openxmlformats-officedocument.drawingml.chart+xml"/>
  <Override PartName="/ppt/tags/tag56.xml" ContentType="application/vnd.openxmlformats-officedocument.presentationml.tags+xml"/>
  <Override PartName="/ppt/charts/chart40.xml" ContentType="application/vnd.openxmlformats-officedocument.drawingml.chart+xml"/>
  <Override PartName="/ppt/tags/tag57.xml" ContentType="application/vnd.openxmlformats-officedocument.presentationml.tags+xml"/>
  <Override PartName="/ppt/charts/chart41.xml" ContentType="application/vnd.openxmlformats-officedocument.drawingml.chart+xml"/>
  <Override PartName="/ppt/tags/tag58.xml" ContentType="application/vnd.openxmlformats-officedocument.presentationml.tags+xml"/>
  <Override PartName="/ppt/charts/chart42.xml" ContentType="application/vnd.openxmlformats-officedocument.drawingml.chart+xml"/>
  <Override PartName="/ppt/tags/tag59.xml" ContentType="application/vnd.openxmlformats-officedocument.presentationml.tags+xml"/>
  <Override PartName="/ppt/charts/chart43.xml" ContentType="application/vnd.openxmlformats-officedocument.drawingml.chart+xml"/>
  <Override PartName="/ppt/tags/tag60.xml" ContentType="application/vnd.openxmlformats-officedocument.presentationml.tags+xml"/>
  <Override PartName="/ppt/charts/chart44.xml" ContentType="application/vnd.openxmlformats-officedocument.drawingml.chart+xml"/>
  <Override PartName="/ppt/tags/tag61.xml" ContentType="application/vnd.openxmlformats-officedocument.presentationml.tags+xml"/>
  <Override PartName="/ppt/charts/chart45.xml" ContentType="application/vnd.openxmlformats-officedocument.drawingml.chart+xml"/>
  <Override PartName="/ppt/tags/tag62.xml" ContentType="application/vnd.openxmlformats-officedocument.presentationml.tags+xml"/>
  <Override PartName="/ppt/charts/chart46.xml" ContentType="application/vnd.openxmlformats-officedocument.drawingml.chart+xml"/>
  <Override PartName="/ppt/tags/tag63.xml" ContentType="application/vnd.openxmlformats-officedocument.presentationml.tags+xml"/>
  <Override PartName="/ppt/charts/chart47.xml" ContentType="application/vnd.openxmlformats-officedocument.drawingml.chart+xml"/>
  <Override PartName="/ppt/tags/tag64.xml" ContentType="application/vnd.openxmlformats-officedocument.presentationml.tags+xml"/>
  <Override PartName="/ppt/charts/chart48.xml" ContentType="application/vnd.openxmlformats-officedocument.drawingml.chart+xml"/>
  <Override PartName="/ppt/tags/tag65.xml" ContentType="application/vnd.openxmlformats-officedocument.presentationml.tags+xml"/>
  <Override PartName="/ppt/charts/chart49.xml" ContentType="application/vnd.openxmlformats-officedocument.drawingml.chart+xml"/>
  <Override PartName="/ppt/tags/tag66.xml" ContentType="application/vnd.openxmlformats-officedocument.presentationml.tags+xml"/>
  <Override PartName="/ppt/charts/chart50.xml" ContentType="application/vnd.openxmlformats-officedocument.drawingml.chart+xml"/>
  <Override PartName="/ppt/tags/tag67.xml" ContentType="application/vnd.openxmlformats-officedocument.presentationml.tags+xml"/>
  <Override PartName="/ppt/charts/chart51.xml" ContentType="application/vnd.openxmlformats-officedocument.drawingml.chart+xml"/>
  <Override PartName="/ppt/tags/tag68.xml" ContentType="application/vnd.openxmlformats-officedocument.presentationml.tags+xml"/>
  <Override PartName="/ppt/charts/chart52.xml" ContentType="application/vnd.openxmlformats-officedocument.drawingml.chart+xml"/>
  <Override PartName="/ppt/tags/tag69.xml" ContentType="application/vnd.openxmlformats-officedocument.presentationml.tags+xml"/>
  <Override PartName="/ppt/charts/chart53.xml" ContentType="application/vnd.openxmlformats-officedocument.drawingml.chart+xml"/>
  <Override PartName="/ppt/tags/tag70.xml" ContentType="application/vnd.openxmlformats-officedocument.presentationml.tags+xml"/>
  <Override PartName="/ppt/charts/chart54.xml" ContentType="application/vnd.openxmlformats-officedocument.drawingml.chart+xml"/>
  <Override PartName="/ppt/tags/tag71.xml" ContentType="application/vnd.openxmlformats-officedocument.presentationml.tags+xml"/>
  <Override PartName="/ppt/charts/chart55.xml" ContentType="application/vnd.openxmlformats-officedocument.drawingml.chart+xml"/>
  <Override PartName="/ppt/tags/tag72.xml" ContentType="application/vnd.openxmlformats-officedocument.presentationml.tags+xml"/>
  <Override PartName="/ppt/charts/chart56.xml" ContentType="application/vnd.openxmlformats-officedocument.drawingml.chart+xml"/>
  <Override PartName="/ppt/tags/tag73.xml" ContentType="application/vnd.openxmlformats-officedocument.presentationml.tags+xml"/>
  <Override PartName="/ppt/charts/chart57.xml" ContentType="application/vnd.openxmlformats-officedocument.drawingml.chart+xml"/>
  <Override PartName="/ppt/tags/tag74.xml" ContentType="application/vnd.openxmlformats-officedocument.presentationml.tags+xml"/>
  <Override PartName="/ppt/charts/chart58.xml" ContentType="application/vnd.openxmlformats-officedocument.drawingml.chart+xml"/>
  <Override PartName="/ppt/tags/tag75.xml" ContentType="application/vnd.openxmlformats-officedocument.presentationml.tags+xml"/>
  <Override PartName="/ppt/charts/chart59.xml" ContentType="application/vnd.openxmlformats-officedocument.drawingml.chart+xml"/>
  <Override PartName="/ppt/tags/tag76.xml" ContentType="application/vnd.openxmlformats-officedocument.presentationml.tags+xml"/>
  <Override PartName="/ppt/charts/chart60.xml" ContentType="application/vnd.openxmlformats-officedocument.drawingml.chart+xml"/>
  <Override PartName="/ppt/tags/tag77.xml" ContentType="application/vnd.openxmlformats-officedocument.presentationml.tags+xml"/>
  <Override PartName="/ppt/notesSlides/notesSlide1.xml" ContentType="application/vnd.openxmlformats-officedocument.presentationml.notesSlide+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notesSlides/notesSlide7.xml" ContentType="application/vnd.openxmlformats-officedocument.presentationml.notesSlide+xml"/>
  <Override PartName="/ppt/tags/tag84.xml" ContentType="application/vnd.openxmlformats-officedocument.presentationml.tags+xml"/>
  <Override PartName="/ppt/notesSlides/notesSlide8.xml" ContentType="application/vnd.openxmlformats-officedocument.presentationml.notesSlide+xml"/>
  <Override PartName="/ppt/tags/tag85.xml" ContentType="application/vnd.openxmlformats-officedocument.presentationml.tags+xml"/>
  <Override PartName="/ppt/notesSlides/notesSlide9.xml" ContentType="application/vnd.openxmlformats-officedocument.presentationml.notesSlide+xml"/>
  <Override PartName="/ppt/tags/tag86.xml" ContentType="application/vnd.openxmlformats-officedocument.presentationml.tags+xml"/>
  <Override PartName="/ppt/notesSlides/notesSlide10.xml" ContentType="application/vnd.openxmlformats-officedocument.presentationml.notesSlide+xml"/>
  <Override PartName="/ppt/tags/tag87.xml" ContentType="application/vnd.openxmlformats-officedocument.presentationml.tags+xml"/>
  <Override PartName="/ppt/notesSlides/notesSlide11.xml" ContentType="application/vnd.openxmlformats-officedocument.presentationml.notesSlide+xml"/>
  <Override PartName="/ppt/tags/tag88.xml" ContentType="application/vnd.openxmlformats-officedocument.presentationml.tags+xml"/>
  <Override PartName="/ppt/notesSlides/notesSlide12.xml" ContentType="application/vnd.openxmlformats-officedocument.presentationml.notesSlide+xml"/>
  <Override PartName="/ppt/tags/tag89.xml" ContentType="application/vnd.openxmlformats-officedocument.presentationml.tags+xml"/>
  <Override PartName="/ppt/notesSlides/notesSlide13.xml" ContentType="application/vnd.openxmlformats-officedocument.presentationml.notesSlide+xml"/>
  <Override PartName="/ppt/charts/chart61.xml" ContentType="application/vnd.openxmlformats-officedocument.drawingml.chart+xml"/>
  <Override PartName="/ppt/charts/style1.xml" ContentType="application/vnd.ms-office.chartstyle+xml"/>
  <Override PartName="/ppt/charts/colors1.xml" ContentType="application/vnd.ms-office.chartcolorstyle+xml"/>
  <Override PartName="/ppt/tags/tag90.xml" ContentType="application/vnd.openxmlformats-officedocument.presentationml.tags+xml"/>
  <Override PartName="/ppt/notesSlides/notesSlide14.xml" ContentType="application/vnd.openxmlformats-officedocument.presentationml.notesSlide+xml"/>
  <Override PartName="/ppt/charts/chart62.xml" ContentType="application/vnd.openxmlformats-officedocument.drawingml.chart+xml"/>
  <Override PartName="/ppt/charts/style2.xml" ContentType="application/vnd.ms-office.chartstyle+xml"/>
  <Override PartName="/ppt/charts/colors2.xml" ContentType="application/vnd.ms-office.chartcolorstyle+xml"/>
  <Override PartName="/ppt/tags/tag91.xml" ContentType="application/vnd.openxmlformats-officedocument.presentationml.tags+xml"/>
  <Override PartName="/ppt/notesSlides/notesSlide15.xml" ContentType="application/vnd.openxmlformats-officedocument.presentationml.notesSlide+xml"/>
  <Override PartName="/ppt/charts/chart63.xml" ContentType="application/vnd.openxmlformats-officedocument.drawingml.chart+xml"/>
  <Override PartName="/ppt/charts/style3.xml" ContentType="application/vnd.ms-office.chartstyle+xml"/>
  <Override PartName="/ppt/charts/colors3.xml" ContentType="application/vnd.ms-office.chartcolorstyle+xml"/>
  <Override PartName="/ppt/tags/tag92.xml" ContentType="application/vnd.openxmlformats-officedocument.presentationml.tags+xml"/>
  <Override PartName="/ppt/notesSlides/notesSlide16.xml" ContentType="application/vnd.openxmlformats-officedocument.presentationml.notesSlide+xml"/>
  <Override PartName="/ppt/charts/chart64.xml" ContentType="application/vnd.openxmlformats-officedocument.drawingml.chart+xml"/>
  <Override PartName="/ppt/charts/style4.xml" ContentType="application/vnd.ms-office.chartstyle+xml"/>
  <Override PartName="/ppt/charts/colors4.xml" ContentType="application/vnd.ms-office.chartcolorstyle+xml"/>
  <Override PartName="/ppt/tags/tag93.xml" ContentType="application/vnd.openxmlformats-officedocument.presentationml.tags+xml"/>
  <Override PartName="/ppt/notesSlides/notesSlide17.xml" ContentType="application/vnd.openxmlformats-officedocument.presentationml.notesSlide+xml"/>
  <Override PartName="/ppt/charts/chart65.xml" ContentType="application/vnd.openxmlformats-officedocument.drawingml.chart+xml"/>
  <Override PartName="/ppt/charts/style5.xml" ContentType="application/vnd.ms-office.chartstyle+xml"/>
  <Override PartName="/ppt/charts/colors5.xml" ContentType="application/vnd.ms-office.chartcolorstyle+xml"/>
  <Override PartName="/ppt/tags/tag94.xml" ContentType="application/vnd.openxmlformats-officedocument.presentationml.tags+xml"/>
  <Override PartName="/ppt/notesSlides/notesSlide18.xml" ContentType="application/vnd.openxmlformats-officedocument.presentationml.notesSlide+xml"/>
  <Override PartName="/ppt/charts/chart66.xml" ContentType="application/vnd.openxmlformats-officedocument.drawingml.chart+xml"/>
  <Override PartName="/ppt/charts/style6.xml" ContentType="application/vnd.ms-office.chartstyle+xml"/>
  <Override PartName="/ppt/charts/colors6.xml" ContentType="application/vnd.ms-office.chartcolorstyle+xml"/>
  <Override PartName="/ppt/tags/tag95.xml" ContentType="application/vnd.openxmlformats-officedocument.presentationml.tags+xml"/>
  <Override PartName="/ppt/notesSlides/notesSlide19.xml" ContentType="application/vnd.openxmlformats-officedocument.presentationml.notesSlide+xml"/>
  <Override PartName="/ppt/charts/chart67.xml" ContentType="application/vnd.openxmlformats-officedocument.drawingml.chart+xml"/>
  <Override PartName="/ppt/charts/style7.xml" ContentType="application/vnd.ms-office.chartstyle+xml"/>
  <Override PartName="/ppt/charts/colors7.xml" ContentType="application/vnd.ms-office.chartcolorstyle+xml"/>
  <Override PartName="/ppt/tags/tag96.xml" ContentType="application/vnd.openxmlformats-officedocument.presentationml.tags+xml"/>
  <Override PartName="/ppt/notesSlides/notesSlide20.xml" ContentType="application/vnd.openxmlformats-officedocument.presentationml.notesSlide+xml"/>
  <Override PartName="/ppt/charts/chart68.xml" ContentType="application/vnd.openxmlformats-officedocument.drawingml.chart+xml"/>
  <Override PartName="/ppt/charts/style8.xml" ContentType="application/vnd.ms-office.chartstyle+xml"/>
  <Override PartName="/ppt/charts/colors8.xml" ContentType="application/vnd.ms-office.chartcolorstyle+xml"/>
  <Override PartName="/ppt/tags/tag97.xml" ContentType="application/vnd.openxmlformats-officedocument.presentationml.tags+xml"/>
  <Override PartName="/ppt/notesSlides/notesSlide21.xml" ContentType="application/vnd.openxmlformats-officedocument.presentationml.notesSlide+xml"/>
  <Override PartName="/ppt/charts/chart69.xml" ContentType="application/vnd.openxmlformats-officedocument.drawingml.chart+xml"/>
  <Override PartName="/ppt/charts/style9.xml" ContentType="application/vnd.ms-office.chartstyle+xml"/>
  <Override PartName="/ppt/charts/colors9.xml" ContentType="application/vnd.ms-office.chartcolorstyle+xml"/>
  <Override PartName="/ppt/tags/tag98.xml" ContentType="application/vnd.openxmlformats-officedocument.presentationml.tags+xml"/>
  <Override PartName="/ppt/notesSlides/notesSlide22.xml" ContentType="application/vnd.openxmlformats-officedocument.presentationml.notesSlide+xml"/>
  <Override PartName="/ppt/charts/chart70.xml" ContentType="application/vnd.openxmlformats-officedocument.drawingml.chart+xml"/>
  <Override PartName="/ppt/charts/style10.xml" ContentType="application/vnd.ms-office.chartstyle+xml"/>
  <Override PartName="/ppt/charts/colors10.xml" ContentType="application/vnd.ms-office.chartcolorstyle+xml"/>
  <Override PartName="/ppt/tags/tag99.xml" ContentType="application/vnd.openxmlformats-officedocument.presentationml.tags+xml"/>
  <Override PartName="/ppt/notesSlides/notesSlide23.xml" ContentType="application/vnd.openxmlformats-officedocument.presentationml.notesSlide+xml"/>
  <Override PartName="/ppt/charts/chart71.xml" ContentType="application/vnd.openxmlformats-officedocument.drawingml.chart+xml"/>
  <Override PartName="/ppt/charts/style11.xml" ContentType="application/vnd.ms-office.chartstyle+xml"/>
  <Override PartName="/ppt/charts/colors11.xml" ContentType="application/vnd.ms-office.chartcolorstyle+xml"/>
  <Override PartName="/ppt/tags/tag100.xml" ContentType="application/vnd.openxmlformats-officedocument.presentationml.tags+xml"/>
  <Override PartName="/ppt/notesSlides/notesSlide24.xml" ContentType="application/vnd.openxmlformats-officedocument.presentationml.notesSlide+xml"/>
  <Override PartName="/ppt/charts/chart72.xml" ContentType="application/vnd.openxmlformats-officedocument.drawingml.chart+xml"/>
  <Override PartName="/ppt/charts/style12.xml" ContentType="application/vnd.ms-office.chartstyle+xml"/>
  <Override PartName="/ppt/charts/colors12.xml" ContentType="application/vnd.ms-office.chartcolorstyle+xml"/>
  <Override PartName="/ppt/tags/tag101.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style13.xml" ContentType="application/vnd.ms-office.chartstyle+xml"/>
  <Override PartName="/ppt/charts/colors13.xml" ContentType="application/vnd.ms-office.chartcolorstyle+xml"/>
  <Override PartName="/ppt/tags/tag102.xml" ContentType="application/vnd.openxmlformats-officedocument.presentationml.tags+xml"/>
  <Override PartName="/ppt/notesSlides/notesSlide26.xml" ContentType="application/vnd.openxmlformats-officedocument.presentationml.notesSlide+xml"/>
  <Override PartName="/ppt/charts/chart74.xml" ContentType="application/vnd.openxmlformats-officedocument.drawingml.chart+xml"/>
  <Override PartName="/ppt/charts/style14.xml" ContentType="application/vnd.ms-office.chartstyle+xml"/>
  <Override PartName="/ppt/charts/colors14.xml" ContentType="application/vnd.ms-office.chartcolorstyle+xml"/>
  <Override PartName="/ppt/tags/tag103.xml" ContentType="application/vnd.openxmlformats-officedocument.presentationml.tags+xml"/>
  <Override PartName="/ppt/notesSlides/notesSlide27.xml" ContentType="application/vnd.openxmlformats-officedocument.presentationml.notesSlide+xml"/>
  <Override PartName="/ppt/charts/chart75.xml" ContentType="application/vnd.openxmlformats-officedocument.drawingml.chart+xml"/>
  <Override PartName="/ppt/charts/style15.xml" ContentType="application/vnd.ms-office.chartstyle+xml"/>
  <Override PartName="/ppt/charts/colors15.xml" ContentType="application/vnd.ms-office.chartcolorstyle+xml"/>
  <Override PartName="/ppt/tags/tag104.xml" ContentType="application/vnd.openxmlformats-officedocument.presentationml.tags+xml"/>
  <Override PartName="/ppt/notesSlides/notesSlide28.xml" ContentType="application/vnd.openxmlformats-officedocument.presentationml.notesSlide+xml"/>
  <Override PartName="/ppt/charts/chart76.xml" ContentType="application/vnd.openxmlformats-officedocument.drawingml.chart+xml"/>
  <Override PartName="/ppt/charts/style16.xml" ContentType="application/vnd.ms-office.chartstyle+xml"/>
  <Override PartName="/ppt/charts/colors16.xml" ContentType="application/vnd.ms-office.chartcolorstyle+xml"/>
  <Override PartName="/ppt/tags/tag105.xml" ContentType="application/vnd.openxmlformats-officedocument.presentationml.tags+xml"/>
  <Override PartName="/ppt/notesSlides/notesSlide29.xml" ContentType="application/vnd.openxmlformats-officedocument.presentationml.notesSlide+xml"/>
  <Override PartName="/ppt/charts/chart77.xml" ContentType="application/vnd.openxmlformats-officedocument.drawingml.chart+xml"/>
  <Override PartName="/ppt/charts/style17.xml" ContentType="application/vnd.ms-office.chartstyle+xml"/>
  <Override PartName="/ppt/charts/colors17.xml" ContentType="application/vnd.ms-office.chartcolorstyle+xml"/>
  <Override PartName="/ppt/tags/tag106.xml" ContentType="application/vnd.openxmlformats-officedocument.presentationml.tags+xml"/>
  <Override PartName="/ppt/notesSlides/notesSlide30.xml" ContentType="application/vnd.openxmlformats-officedocument.presentationml.notesSlide+xml"/>
  <Override PartName="/ppt/charts/chart78.xml" ContentType="application/vnd.openxmlformats-officedocument.drawingml.chart+xml"/>
  <Override PartName="/ppt/charts/style18.xml" ContentType="application/vnd.ms-office.chartstyle+xml"/>
  <Override PartName="/ppt/charts/colors18.xml" ContentType="application/vnd.ms-office.chartcolorstyle+xml"/>
  <Override PartName="/ppt/tags/tag107.xml" ContentType="application/vnd.openxmlformats-officedocument.presentationml.tags+xml"/>
  <Override PartName="/ppt/notesSlides/notesSlide31.xml" ContentType="application/vnd.openxmlformats-officedocument.presentationml.notesSlide+xml"/>
  <Override PartName="/ppt/charts/chart79.xml" ContentType="application/vnd.openxmlformats-officedocument.drawingml.chart+xml"/>
  <Override PartName="/ppt/charts/style19.xml" ContentType="application/vnd.ms-office.chartstyle+xml"/>
  <Override PartName="/ppt/charts/colors19.xml" ContentType="application/vnd.ms-office.chartcolorstyle+xml"/>
  <Override PartName="/ppt/tags/tag108.xml" ContentType="application/vnd.openxmlformats-officedocument.presentationml.tags+xml"/>
  <Override PartName="/ppt/notesSlides/notesSlide32.xml" ContentType="application/vnd.openxmlformats-officedocument.presentationml.notesSlide+xml"/>
  <Override PartName="/ppt/charts/chart80.xml" ContentType="application/vnd.openxmlformats-officedocument.drawingml.chart+xml"/>
  <Override PartName="/ppt/charts/style20.xml" ContentType="application/vnd.ms-office.chartstyle+xml"/>
  <Override PartName="/ppt/charts/colors20.xml" ContentType="application/vnd.ms-office.chartcolorstyle+xml"/>
  <Override PartName="/ppt/tags/tag109.xml" ContentType="application/vnd.openxmlformats-officedocument.presentationml.tags+xml"/>
  <Override PartName="/ppt/notesSlides/notesSlide33.xml" ContentType="application/vnd.openxmlformats-officedocument.presentationml.notesSlide+xml"/>
  <Override PartName="/ppt/charts/chart81.xml" ContentType="application/vnd.openxmlformats-officedocument.drawingml.chart+xml"/>
  <Override PartName="/ppt/charts/style21.xml" ContentType="application/vnd.ms-office.chartstyle+xml"/>
  <Override PartName="/ppt/charts/colors21.xml" ContentType="application/vnd.ms-office.chartcolorstyle+xml"/>
  <Override PartName="/ppt/tags/tag110.xml" ContentType="application/vnd.openxmlformats-officedocument.presentationml.tags+xml"/>
  <Override PartName="/ppt/notesSlides/notesSlide34.xml" ContentType="application/vnd.openxmlformats-officedocument.presentationml.notesSlide+xml"/>
  <Override PartName="/ppt/charts/chart82.xml" ContentType="application/vnd.openxmlformats-officedocument.drawingml.chart+xml"/>
  <Override PartName="/ppt/charts/style22.xml" ContentType="application/vnd.ms-office.chartstyle+xml"/>
  <Override PartName="/ppt/charts/colors22.xml" ContentType="application/vnd.ms-office.chartcolorstyle+xml"/>
  <Override PartName="/ppt/tags/tag111.xml" ContentType="application/vnd.openxmlformats-officedocument.presentationml.tags+xml"/>
  <Override PartName="/ppt/notesSlides/notesSlide35.xml" ContentType="application/vnd.openxmlformats-officedocument.presentationml.notesSlide+xml"/>
  <Override PartName="/ppt/charts/chart83.xml" ContentType="application/vnd.openxmlformats-officedocument.drawingml.chart+xml"/>
  <Override PartName="/ppt/charts/style23.xml" ContentType="application/vnd.ms-office.chartstyle+xml"/>
  <Override PartName="/ppt/charts/colors23.xml" ContentType="application/vnd.ms-office.chartcolorstyle+xml"/>
  <Override PartName="/ppt/tags/tag112.xml" ContentType="application/vnd.openxmlformats-officedocument.presentationml.tags+xml"/>
  <Override PartName="/ppt/notesSlides/notesSlide36.xml" ContentType="application/vnd.openxmlformats-officedocument.presentationml.notesSlide+xml"/>
  <Override PartName="/ppt/charts/chart84.xml" ContentType="application/vnd.openxmlformats-officedocument.drawingml.chart+xml"/>
  <Override PartName="/ppt/charts/style24.xml" ContentType="application/vnd.ms-office.chartstyle+xml"/>
  <Override PartName="/ppt/charts/colors24.xml" ContentType="application/vnd.ms-office.chartcolorstyle+xml"/>
  <Override PartName="/ppt/tags/tag113.xml" ContentType="application/vnd.openxmlformats-officedocument.presentationml.tags+xml"/>
  <Override PartName="/ppt/notesSlides/notesSlide37.xml" ContentType="application/vnd.openxmlformats-officedocument.presentationml.notesSlide+xml"/>
  <Override PartName="/ppt/charts/chart85.xml" ContentType="application/vnd.openxmlformats-officedocument.drawingml.chart+xml"/>
  <Override PartName="/ppt/charts/style25.xml" ContentType="application/vnd.ms-office.chartstyle+xml"/>
  <Override PartName="/ppt/charts/colors25.xml" ContentType="application/vnd.ms-office.chartcolorstyle+xml"/>
  <Override PartName="/ppt/tags/tag114.xml" ContentType="application/vnd.openxmlformats-officedocument.presentationml.tags+xml"/>
  <Override PartName="/ppt/notesSlides/notesSlide38.xml" ContentType="application/vnd.openxmlformats-officedocument.presentationml.notesSlide+xml"/>
  <Override PartName="/ppt/charts/chart86.xml" ContentType="application/vnd.openxmlformats-officedocument.drawingml.chart+xml"/>
  <Override PartName="/ppt/charts/style26.xml" ContentType="application/vnd.ms-office.chartstyle+xml"/>
  <Override PartName="/ppt/charts/colors26.xml" ContentType="application/vnd.ms-office.chartcolorstyle+xml"/>
  <Override PartName="/ppt/tags/tag115.xml" ContentType="application/vnd.openxmlformats-officedocument.presentationml.tags+xml"/>
  <Override PartName="/ppt/notesSlides/notesSlide39.xml" ContentType="application/vnd.openxmlformats-officedocument.presentationml.notesSlide+xml"/>
  <Override PartName="/ppt/charts/chart87.xml" ContentType="application/vnd.openxmlformats-officedocument.drawingml.chart+xml"/>
  <Override PartName="/ppt/charts/style27.xml" ContentType="application/vnd.ms-office.chartstyle+xml"/>
  <Override PartName="/ppt/charts/colors27.xml" ContentType="application/vnd.ms-office.chartcolorstyle+xml"/>
  <Override PartName="/ppt/tags/tag116.xml" ContentType="application/vnd.openxmlformats-officedocument.presentationml.tags+xml"/>
  <Override PartName="/ppt/notesSlides/notesSlide40.xml" ContentType="application/vnd.openxmlformats-officedocument.presentationml.notesSlide+xml"/>
  <Override PartName="/ppt/charts/chart88.xml" ContentType="application/vnd.openxmlformats-officedocument.drawingml.chart+xml"/>
  <Override PartName="/ppt/charts/style28.xml" ContentType="application/vnd.ms-office.chartstyle+xml"/>
  <Override PartName="/ppt/charts/colors28.xml" ContentType="application/vnd.ms-office.chartcolorstyle+xml"/>
  <Override PartName="/ppt/tags/tag117.xml" ContentType="application/vnd.openxmlformats-officedocument.presentationml.tags+xml"/>
  <Override PartName="/ppt/notesSlides/notesSlide41.xml" ContentType="application/vnd.openxmlformats-officedocument.presentationml.notesSlide+xml"/>
  <Override PartName="/ppt/charts/chart89.xml" ContentType="application/vnd.openxmlformats-officedocument.drawingml.chart+xml"/>
  <Override PartName="/ppt/charts/style29.xml" ContentType="application/vnd.ms-office.chartstyle+xml"/>
  <Override PartName="/ppt/charts/colors29.xml" ContentType="application/vnd.ms-office.chartcolorstyle+xml"/>
  <Override PartName="/ppt/tags/tag118.xml" ContentType="application/vnd.openxmlformats-officedocument.presentationml.tags+xml"/>
  <Override PartName="/ppt/notesSlides/notesSlide42.xml" ContentType="application/vnd.openxmlformats-officedocument.presentationml.notesSlide+xml"/>
  <Override PartName="/ppt/charts/chart90.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6"/>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996ADD45-3744-4EE1-A669-9400CCFCEA5D}">
          <p14:sldIdLst>
            <p14:sldId id="2147477365"/>
            <p14:sldId id="2147477366"/>
            <p14:sldId id="2147477367"/>
          </p14:sldIdLst>
        </p14:section>
        <p14:section name="Price Positioning Summary Sector" id="{F5C53AED-2064-4190-9693-70FA1AE5A514}">
          <p14:sldIdLst>
            <p14:sldId id="2147477368"/>
            <p14:sldId id="2147477369"/>
            <p14:sldId id="2147477370"/>
          </p14:sldIdLst>
        </p14:section>
        <p14:section name="Price Positioning Summary Segment" id="{E0688105-A148-488B-B1AC-A72F8A02200F}">
          <p14:sldIdLst>
            <p14:sldId id="2147477371"/>
            <p14:sldId id="2147477372"/>
            <p14:sldId id="2147477373"/>
          </p14:sldIdLst>
        </p14:section>
        <p14:section name="Price Positioning Analysis By Brands" id="{AB9977D4-94CE-49A5-A9BD-F33FC3D2A617}">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Lst>
        </p14:section>
        <p14:section name="Price Positioning Analysis By Manufacturer" id="{B60E0AC3-8219-45F9-8376-5EF29E98484B}">
          <p14:sldIdLst>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Sectors Share and Growth By Brands" id="{C0DB0C25-1AC3-4CA8-9D0C-0AF7EE28A089}">
          <p14:sldIdLst>
            <p14:sldId id="2147477414"/>
            <p14:sldId id="2147477415"/>
            <p14:sldId id="2147477416"/>
          </p14:sldIdLst>
        </p14:section>
        <p14:section name="Segments Share and Growth By Brands" id="{1CE0E2BA-DC6F-4204-9AC0-A911FAACED0C}">
          <p14:sldIdLst>
            <p14:sldId id="2147477417"/>
            <p14:sldId id="2147477418"/>
            <p14:sldId id="2147477419"/>
          </p14:sldIdLst>
        </p14:section>
        <p14:section name="Sectors Share and Growth By Manufacturer" id="{9FA2D5FC-7243-4F98-AC39-7BE4C4BB2F8E}">
          <p14:sldIdLst>
            <p14:sldId id="2147477420"/>
            <p14:sldId id="2147477421"/>
            <p14:sldId id="2147477422"/>
          </p14:sldIdLst>
        </p14:section>
        <p14:section name="Segments Share and Growth By Manufacturer" id="{B50117D1-628F-44F4-90E6-FF90F54F4FF0}">
          <p14:sldIdLst>
            <p14:sldId id="2147477423"/>
            <p14:sldId id="2147477424"/>
            <p14:sldId id="2147477425"/>
          </p14:sldIdLst>
        </p14:section>
        <p14:section name="Sec/Seg Value Sales Vs Avg Price By Manufacturer" id="{97185FC1-66D7-490E-82AE-DFA046025016}">
          <p14:sldIdLst>
            <p14:sldId id="2147477426"/>
            <p14:sldId id="2147477427"/>
            <p14:sldId id="2147477428"/>
          </p14:sldIdLst>
        </p14:section>
        <p14:section name="Sec/Seg Value Sales Vs Avg Price" id="{F55AB158-D883-4CE4-8CAF-7A4BF53D8308}">
          <p14:sldIdLst>
            <p14:sldId id="2147477429"/>
            <p14:sldId id="2147477430"/>
            <p14:sldId id="2147477431"/>
            <p14:sldId id="2147477432"/>
            <p14:sldId id="2147477433"/>
            <p14:sldId id="2147477434"/>
            <p14:sldId id="2147477435"/>
            <p14:sldId id="2147477436"/>
            <p14:sldId id="2147477437"/>
          </p14:sldIdLst>
        </p14:section>
        <p14:section name="Sectors Value Sales Vs Avg Price" id="{ED083086-3BFF-4C46-9330-DB7F3B7E90A2}">
          <p14:sldIdLst>
            <p14:sldId id="2147477438"/>
            <p14:sldId id="2147477439"/>
            <p14:sldId id="2147477440"/>
            <p14:sldId id="2147477441"/>
            <p14:sldId id="2147477442"/>
            <p14:sldId id="2147477443"/>
            <p14:sldId id="2147477444"/>
            <p14:sldId id="2147477445"/>
            <p14:sldId id="2147477446"/>
          </p14:sldIdLst>
        </p14:section>
        <p14:section name="Segment Value Sales Vs Avg Price" id="{CC7A18C0-9CBD-41A5-B80B-4F8A5F14115B}">
          <p14:sldIdLst>
            <p14:sldId id="2147477447"/>
            <p14:sldId id="2147477448"/>
            <p14:sldId id="2147477449"/>
            <p14:sldId id="2147477450"/>
            <p14:sldId id="2147477451"/>
            <p14:sldId id="2147477452"/>
            <p14:sldId id="2147477453"/>
            <p14:sldId id="2147477454"/>
            <p14:sldId id="214747745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xml"/><Relationship Id="rId1" Type="http://schemas.microsoft.com/office/2011/relationships/chartStyle" Target="style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2.xml"/><Relationship Id="rId1" Type="http://schemas.microsoft.com/office/2011/relationships/chartStyle" Target="style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3.xml"/><Relationship Id="rId1" Type="http://schemas.microsoft.com/office/2011/relationships/chartStyle" Target="style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4.xml"/><Relationship Id="rId1" Type="http://schemas.microsoft.com/office/2011/relationships/chartStyle" Target="style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5.xml"/><Relationship Id="rId1" Type="http://schemas.microsoft.com/office/2011/relationships/chartStyle" Target="style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xml"/><Relationship Id="rId1" Type="http://schemas.microsoft.com/office/2011/relationships/chartStyle" Target="style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7.xml"/><Relationship Id="rId1" Type="http://schemas.microsoft.com/office/2011/relationships/chartStyle" Target="style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8.xml"/><Relationship Id="rId1" Type="http://schemas.microsoft.com/office/2011/relationships/chartStyle" Target="style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9.xml"/><Relationship Id="rId1" Type="http://schemas.microsoft.com/office/2011/relationships/chartStyle" Target="style9.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0.xml"/><Relationship Id="rId1" Type="http://schemas.microsoft.com/office/2011/relationships/chartStyle" Target="style1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1.xml"/><Relationship Id="rId1" Type="http://schemas.microsoft.com/office/2011/relationships/chartStyle" Target="style1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2.xml"/><Relationship Id="rId1" Type="http://schemas.microsoft.com/office/2011/relationships/chartStyle" Target="style1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3.xml"/><Relationship Id="rId1" Type="http://schemas.microsoft.com/office/2011/relationships/chartStyle" Target="style1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14.xml"/><Relationship Id="rId1" Type="http://schemas.microsoft.com/office/2011/relationships/chartStyle" Target="style1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15.xml"/><Relationship Id="rId1" Type="http://schemas.microsoft.com/office/2011/relationships/chartStyle" Target="style1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16.xml"/><Relationship Id="rId1" Type="http://schemas.microsoft.com/office/2011/relationships/chartStyle" Target="style1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17.xml"/><Relationship Id="rId1" Type="http://schemas.microsoft.com/office/2011/relationships/chartStyle" Target="style1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18.xml"/><Relationship Id="rId1" Type="http://schemas.microsoft.com/office/2011/relationships/chartStyle" Target="style1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19.xml"/><Relationship Id="rId1" Type="http://schemas.microsoft.com/office/2011/relationships/chartStyle" Target="style1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0.xml"/><Relationship Id="rId1" Type="http://schemas.microsoft.com/office/2011/relationships/chartStyle" Target="style2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1.xml"/><Relationship Id="rId1" Type="http://schemas.microsoft.com/office/2011/relationships/chartStyle" Target="style2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2.xml"/><Relationship Id="rId1" Type="http://schemas.microsoft.com/office/2011/relationships/chartStyle" Target="style2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3.xml"/><Relationship Id="rId1" Type="http://schemas.microsoft.com/office/2011/relationships/chartStyle" Target="style2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24.xml"/><Relationship Id="rId1" Type="http://schemas.microsoft.com/office/2011/relationships/chartStyle" Target="style2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25.xml"/><Relationship Id="rId1" Type="http://schemas.microsoft.com/office/2011/relationships/chartStyle" Target="style2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26.xml"/><Relationship Id="rId1" Type="http://schemas.microsoft.com/office/2011/relationships/chartStyle" Target="style2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27.xml"/><Relationship Id="rId1" Type="http://schemas.microsoft.com/office/2011/relationships/chartStyle" Target="style2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28.xml"/><Relationship Id="rId1" Type="http://schemas.microsoft.com/office/2011/relationships/chartStyle" Target="style2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29.xml"/><Relationship Id="rId1" Type="http://schemas.microsoft.com/office/2011/relationships/chartStyle" Target="style29.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30.xml"/><Relationship Id="rId1" Type="http://schemas.microsoft.com/office/2011/relationships/chartStyle" Target="style3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4C7461-3794-417D-90D5-DF367ECED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CC7FAD-5B99-4C72-95C2-EC1069B2EE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AD73BC-A2C9-4267-AD43-B2FB27A15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D15EA0D-2C4E-4563-B714-A9519AB603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97F2D36-AA44-4CCC-A3F5-E0D5BF2237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0B57EF6-186D-4166-8FC3-021B83A630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F98FC7B-557B-4CE4-952A-C03A202CCE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EDA60BC-AEA2-4C9A-9CF4-AD0DF92FA6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792999999999999</c:v>
                </c:pt>
                <c:pt idx="1">
                  <c:v>2.3864999999999998</c:v>
                </c:pt>
                <c:pt idx="2">
                  <c:v>2.3683000000000001</c:v>
                </c:pt>
                <c:pt idx="3">
                  <c:v>2.8965999999999998</c:v>
                </c:pt>
                <c:pt idx="4">
                  <c:v>2.754</c:v>
                </c:pt>
                <c:pt idx="5">
                  <c:v>3.2810999999999999</c:v>
                </c:pt>
                <c:pt idx="6">
                  <c:v>2.9582999999999999</c:v>
                </c:pt>
                <c:pt idx="7">
                  <c:v>2.5394000000000001</c:v>
                </c:pt>
              </c:numCache>
            </c:numRef>
          </c:xVal>
          <c:yVal>
            <c:numRef>
              <c:f>Sheet1!$B$2:$B$9</c:f>
              <c:numCache>
                <c:formatCode>General</c:formatCode>
                <c:ptCount val="8"/>
                <c:pt idx="0">
                  <c:v>0.84699999999999998</c:v>
                </c:pt>
                <c:pt idx="1">
                  <c:v>0.82699999999999996</c:v>
                </c:pt>
                <c:pt idx="2">
                  <c:v>1.127</c:v>
                </c:pt>
                <c:pt idx="3">
                  <c:v>1.1100000000000001</c:v>
                </c:pt>
                <c:pt idx="4">
                  <c:v>1.0529999999999999</c:v>
                </c:pt>
                <c:pt idx="5">
                  <c:v>0.90400000000000003</c:v>
                </c:pt>
                <c:pt idx="6">
                  <c:v>1.115</c:v>
                </c:pt>
                <c:pt idx="7">
                  <c:v>1.5009999999999999</c:v>
                </c:pt>
              </c:numCache>
            </c:numRef>
          </c:yVal>
          <c:bubbleSize>
            <c:numRef>
              <c:f>Sheet1!$C$2:$C$9</c:f>
              <c:numCache>
                <c:formatCode>General</c:formatCode>
                <c:ptCount val="8"/>
                <c:pt idx="0">
                  <c:v>623932113</c:v>
                </c:pt>
                <c:pt idx="1">
                  <c:v>74730598</c:v>
                </c:pt>
                <c:pt idx="2">
                  <c:v>60716546</c:v>
                </c:pt>
                <c:pt idx="3">
                  <c:v>54596188</c:v>
                </c:pt>
                <c:pt idx="4">
                  <c:v>49577769</c:v>
                </c:pt>
                <c:pt idx="5">
                  <c:v>35786185</c:v>
                </c:pt>
                <c:pt idx="6">
                  <c:v>29293535</c:v>
                </c:pt>
                <c:pt idx="7">
                  <c:v>2606630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4FB39B1-11F4-4746-A1C0-88AB05766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A3CE2AA-4AD0-497B-A330-B1463327D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DA60E71-B6DF-4783-BEFF-0422099D20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F63D9769-573A-4BE3-BA66-04BAE58E9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A61CC95-E578-4CB7-A8E5-6A809B90D0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6ECDADCD-3282-432E-8617-EDF9A36C6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A507A5D7-A105-42E9-A6D7-5CA926BB6D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5A38AC6-A148-4680-9C84-149908952D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7627354-91FB-41AA-89EF-4A6AE1E7C6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0FF6957-25E8-4878-AD9D-B778D6148A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B0BD629-9EB6-4A9E-9A48-C4D1FDD3A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71C2A020-10AA-415B-8E48-A4A5ACB6BB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00913446-9223-4C11-83E8-C58AC56F15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CCCD0B9-A21F-460E-AF51-54713E3F93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72D46BED-2887-4DD7-A1B2-C9B53E5DDE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C4034B5-00D4-4A97-AAB3-E34E069133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69999999999999</c:v>
                </c:pt>
                <c:pt idx="3">
                  <c:v>3.7195999999999998</c:v>
                </c:pt>
                <c:pt idx="4">
                  <c:v>2.7090000000000001</c:v>
                </c:pt>
                <c:pt idx="5">
                  <c:v>1.2703</c:v>
                </c:pt>
              </c:numCache>
            </c:numRef>
          </c:xVal>
          <c:yVal>
            <c:numRef>
              <c:f>Sheet1!$B$2:$B$7</c:f>
              <c:numCache>
                <c:formatCode>General</c:formatCode>
                <c:ptCount val="6"/>
                <c:pt idx="0">
                  <c:v>0.83799999999999997</c:v>
                </c:pt>
                <c:pt idx="1">
                  <c:v>1.0960000000000001</c:v>
                </c:pt>
                <c:pt idx="2">
                  <c:v>1.589</c:v>
                </c:pt>
                <c:pt idx="3">
                  <c:v>1.448</c:v>
                </c:pt>
                <c:pt idx="4">
                  <c:v>1.4570000000000001</c:v>
                </c:pt>
                <c:pt idx="5">
                  <c:v>0.86599999999999999</c:v>
                </c:pt>
              </c:numCache>
            </c:numRef>
          </c:yVal>
          <c:bubbleSize>
            <c:numRef>
              <c:f>Sheet1!$C$2:$C$7</c:f>
              <c:numCache>
                <c:formatCode>General</c:formatCode>
                <c:ptCount val="6"/>
                <c:pt idx="0">
                  <c:v>3832081</c:v>
                </c:pt>
                <c:pt idx="1">
                  <c:v>2828611</c:v>
                </c:pt>
                <c:pt idx="2">
                  <c:v>442466</c:v>
                </c:pt>
                <c:pt idx="3">
                  <c:v>265726</c:v>
                </c:pt>
                <c:pt idx="4">
                  <c:v>173579</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6387321-3673-4BDD-B451-18E298CE39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93F5B4-AF78-4942-84AC-647081838C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31A2E7-3B1B-4035-8031-DCE160B8E6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4EF31A0-ECB2-441B-8076-B9BC73E889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ED65EE2-81C3-4C7D-8ED8-FD63666F4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3D759A9-B202-43EC-AFA6-E5206DCFC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5164A7B-D5ED-4B85-9835-8DE9128EB0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22B8712-1FC3-4553-8E20-DBF956F9FE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87CE33A-9B99-46CF-9627-FB71DD100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0AB9E53E-878C-4154-A58A-6278DBF44C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ABA5A494-0B79-4CD7-A647-7359FD116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46120CEE-13EA-4F86-9199-991B98FBE7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8AC3CA6-B171-46F8-B1C5-F117F35DC3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B0DD5D4-F80A-42A7-9B6B-C0D53FA3F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D1F9624D-29F4-417A-9D4E-A22EEAB55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E5E429A-1101-40DD-9783-1E17019B5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E8DF2DC-E5C2-4516-91CE-49ADAE401F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5EF83D8C-5CBF-485E-92EC-78EED7F9D9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50D04F11-6B10-4AE5-8C5D-AF10D42BF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8A4586D-873D-4B4F-8736-A8212BD5C0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A5896040-4493-47DA-92D2-AEFF1695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FC883312-9B4C-4D1A-AC92-E78F3D78C6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D2DCE673-B82A-4C4D-89EC-352BE7AB9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683CD15D-3735-4680-A8B6-BD7F443C71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400000000000002</c:v>
                </c:pt>
                <c:pt idx="1">
                  <c:v>1.032</c:v>
                </c:pt>
                <c:pt idx="2">
                  <c:v>1.175</c:v>
                </c:pt>
                <c:pt idx="3">
                  <c:v>1.0409999999999999</c:v>
                </c:pt>
                <c:pt idx="4">
                  <c:v>1.4279999999999999</c:v>
                </c:pt>
                <c:pt idx="5">
                  <c:v>1.4730000000000001</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337C42-01EA-4906-8E90-FDFAB8C1F2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209548-56C5-42AF-9D99-A7D2B7ADCA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58D667B-C98A-4040-9988-56BAC7155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32A7C97-C7E1-4FF7-AD7D-120BFF8A9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4D4478-45AD-45F4-BAB8-80EFE7FE8F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32D490-7877-47A6-A10C-FCCCDB762A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3FA1816-3442-4840-8898-B1B1889A2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727C9F-8C51-4B4D-A88E-08B1781D2FE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89A2EF3F-1217-455D-8B63-D671D5A88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857570E-71AD-44C6-875F-C54AC8779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44F0510F-B57F-4F8E-A9F2-6A0AA7222C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31BD80-6ABC-4305-B2E7-5388D2C4CB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6B7D2D4-4364-4E04-A222-D9D16E469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F692FA16-71E6-4CFC-9743-A8872FDD79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D1A5718-8D39-4EFD-B906-674C28F283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2274D636-874D-41D2-B872-3B0DDC6BD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F5E84E89-F7AB-4308-890E-4B195685F1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D48910BA-EC80-453A-9CDC-D69463CFD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6B00695-08AF-40A4-822A-368E245A9B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32AD0A2B-787E-47DA-8379-3829E8974D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B437B868-36DE-4C58-94DF-0366393C1E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3B3133F2-AC36-469C-9AF5-91AE6CCBC8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BE037C4-946B-4BDF-822C-D9E66FD6E2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12BD904-33D4-45D2-AA10-ED7507EF95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2603CE2-C6A5-45A8-A597-00F3A881D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5BF7914-9A57-445E-AC99-A788C0EFFF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F7B6E18-3B75-462B-B5BF-36B9CE28A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313C238-412C-4AF8-8237-250BDD3691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8116808-0937-4FC6-97C7-D16AA4278F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CC20276-4E5F-4B9D-8C25-BB0E42FF9F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71A90F5-432E-4DFA-9C82-D6BBF46E1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3FB02B2-3050-49D6-92B2-EDE91ADDE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691A06E-4C69-495B-B5FE-2EB5F1F37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C423E86-1D80-473C-9C0F-2B9F0DDE7D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2DB853E4-2C7E-4CBC-958A-1C460DDAA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8B60719-D0C5-4BE7-B855-EFCFFEFC3C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BD7F468B-D4D3-489E-B90B-5D1368BFF2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AB10A147-2912-4E9B-B3A3-4615DD576C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19384930-CCAF-4BCB-811A-152DD52657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4DA7B32-C6A3-421A-BD1C-729A0A4F4D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2</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7FCBBC4-F137-4F98-970F-72252F3A3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F2D125-0E2A-41DE-AAB9-4A31FC2828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81B28DF-BC58-4BB6-8E0A-E3D6DB462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AB82E8-C471-48AE-B6A5-0BF0DBA200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976AFA-C09B-4D32-8233-49E70BB2B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681C7F0-A522-4A1B-AB2B-B68EB22DD1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0A22BFF-F666-4905-B04B-EB9FD8B30A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C8CCD95-9A39-48BA-90B2-5E4BD27CF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39403328-E179-412D-988B-C2C7663029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4F33601F-9845-498C-804B-6F485E577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8554F7B4-ED1C-42AF-B100-D5445BC9C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B30BF4F5-2464-482B-8E37-410738F62F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EDFA4F4-515E-4243-B6CD-6F60406105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13E82A6E-0B7A-4077-9A7F-A36745116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5556598D-5237-4576-8256-ED52D2CC0B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7F7D8BC0-1BAF-49A2-800F-A401A7D65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74</c:v>
                </c:pt>
                <c:pt idx="1">
                  <c:v>1.089</c:v>
                </c:pt>
                <c:pt idx="2">
                  <c:v>1.056</c:v>
                </c:pt>
                <c:pt idx="3">
                  <c:v>1.2390000000000001</c:v>
                </c:pt>
                <c:pt idx="4">
                  <c:v>1.5640000000000001</c:v>
                </c:pt>
                <c:pt idx="5">
                  <c:v>1.6259999999999999</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DD09C1-A5CD-4769-BAD3-5C69C5418F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7A2BB3-70D1-48F4-8D59-64AB5D52A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1CBFE3A-5E05-4B27-9D17-87EE997A20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4DB558-AC7A-42A5-9F45-5309D139C5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E25C073-BAAE-40A5-9766-F5691B3DB6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ED32C0D-8E77-4378-80FE-83082C3FA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AEB62094-47A8-4183-A832-04D89479DA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B186003-5589-4FF9-A907-074B979D0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792999999999999</c:v>
                </c:pt>
                <c:pt idx="1">
                  <c:v>2.3864999999999998</c:v>
                </c:pt>
                <c:pt idx="2">
                  <c:v>2.3683000000000001</c:v>
                </c:pt>
                <c:pt idx="3">
                  <c:v>2.8965999999999998</c:v>
                </c:pt>
                <c:pt idx="4">
                  <c:v>2.754</c:v>
                </c:pt>
                <c:pt idx="5">
                  <c:v>3.2810999999999999</c:v>
                </c:pt>
                <c:pt idx="6">
                  <c:v>2.9582999999999999</c:v>
                </c:pt>
                <c:pt idx="7">
                  <c:v>2.5394000000000001</c:v>
                </c:pt>
              </c:numCache>
            </c:numRef>
          </c:xVal>
          <c:yVal>
            <c:numRef>
              <c:f>Sheet1!$B$2:$B$9</c:f>
              <c:numCache>
                <c:formatCode>General</c:formatCode>
                <c:ptCount val="8"/>
                <c:pt idx="0">
                  <c:v>0.84699999999999998</c:v>
                </c:pt>
                <c:pt idx="1">
                  <c:v>0.82699999999999996</c:v>
                </c:pt>
                <c:pt idx="2">
                  <c:v>1.127</c:v>
                </c:pt>
                <c:pt idx="3">
                  <c:v>1.1100000000000001</c:v>
                </c:pt>
                <c:pt idx="4">
                  <c:v>1.0529999999999999</c:v>
                </c:pt>
                <c:pt idx="5">
                  <c:v>0.90400000000000003</c:v>
                </c:pt>
                <c:pt idx="6">
                  <c:v>1.115</c:v>
                </c:pt>
                <c:pt idx="7">
                  <c:v>1.5009999999999999</c:v>
                </c:pt>
              </c:numCache>
            </c:numRef>
          </c:yVal>
          <c:bubbleSize>
            <c:numRef>
              <c:f>Sheet1!$C$2:$C$9</c:f>
              <c:numCache>
                <c:formatCode>General</c:formatCode>
                <c:ptCount val="8"/>
                <c:pt idx="0">
                  <c:v>623932113</c:v>
                </c:pt>
                <c:pt idx="1">
                  <c:v>74730598</c:v>
                </c:pt>
                <c:pt idx="2">
                  <c:v>60716546</c:v>
                </c:pt>
                <c:pt idx="3">
                  <c:v>54596188</c:v>
                </c:pt>
                <c:pt idx="4">
                  <c:v>49577769</c:v>
                </c:pt>
                <c:pt idx="5">
                  <c:v>35786185</c:v>
                </c:pt>
                <c:pt idx="6">
                  <c:v>29293535</c:v>
                </c:pt>
                <c:pt idx="7">
                  <c:v>26066303</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0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909C8C4-3644-427F-893D-7B2423EE4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A7B62B-0543-4E7A-B516-0D998B3D0E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0554A1-F029-4610-BA2C-3F647FDC95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22E163-87F9-4A6B-BBE7-7F56B8199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E8686D0-A5D8-44B4-BD3B-E3E9CBA0D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8F6682-91F6-4E90-9C31-5281B1DCD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D96EDD4-27E9-418A-977D-0D91D68C2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FFD2242-45C8-49A3-85BC-31C68E8AB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BD153B-80CE-4BF5-805A-E07D010FA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B448F2-649D-40FA-B3F5-746E6A1182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497CBEB-0495-4353-9E5D-DB2D309170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7BD54D2-8C2D-46AE-BCD2-F8294B6DE9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A4A3AF1-5016-4DE0-B94B-B14D363A25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BB96A90-4A90-4A3F-9425-75C4414D5F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C12D7D0-C31C-4ED6-8E7E-993FFB0C7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34E7EF0-8A0D-4794-BD03-8E22D855C9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6366000000000001</c:v>
                </c:pt>
                <c:pt idx="2">
                  <c:v>3.2170999999999998</c:v>
                </c:pt>
                <c:pt idx="3">
                  <c:v>2.5398000000000001</c:v>
                </c:pt>
                <c:pt idx="4">
                  <c:v>2.9603000000000002</c:v>
                </c:pt>
                <c:pt idx="5">
                  <c:v>3.4443000000000001</c:v>
                </c:pt>
                <c:pt idx="6">
                  <c:v>2.6857000000000002</c:v>
                </c:pt>
                <c:pt idx="7">
                  <c:v>3.0390000000000001</c:v>
                </c:pt>
              </c:numCache>
            </c:numRef>
          </c:xVal>
          <c:yVal>
            <c:numRef>
              <c:f>Sheet1!$B$2:$B$9</c:f>
              <c:numCache>
                <c:formatCode>General</c:formatCode>
                <c:ptCount val="8"/>
                <c:pt idx="0">
                  <c:v>0.85</c:v>
                </c:pt>
                <c:pt idx="1">
                  <c:v>0.92800000000000005</c:v>
                </c:pt>
                <c:pt idx="2">
                  <c:v>1.296</c:v>
                </c:pt>
                <c:pt idx="3">
                  <c:v>1.181</c:v>
                </c:pt>
                <c:pt idx="4">
                  <c:v>1.145</c:v>
                </c:pt>
                <c:pt idx="5">
                  <c:v>0.97299999999999998</c:v>
                </c:pt>
                <c:pt idx="6">
                  <c:v>1.5580000000000001</c:v>
                </c:pt>
                <c:pt idx="7">
                  <c:v>1.1499999999999999</c:v>
                </c:pt>
              </c:numCache>
            </c:numRef>
          </c:yVal>
          <c:bubbleSize>
            <c:numRef>
              <c:f>Sheet1!$C$2:$C$9</c:f>
              <c:numCache>
                <c:formatCode>General</c:formatCode>
                <c:ptCount val="8"/>
                <c:pt idx="0">
                  <c:v>160601106</c:v>
                </c:pt>
                <c:pt idx="1">
                  <c:v>25846068</c:v>
                </c:pt>
                <c:pt idx="2">
                  <c:v>14772179</c:v>
                </c:pt>
                <c:pt idx="3">
                  <c:v>13917161</c:v>
                </c:pt>
                <c:pt idx="4">
                  <c:v>9429711</c:v>
                </c:pt>
                <c:pt idx="5">
                  <c:v>5658645</c:v>
                </c:pt>
                <c:pt idx="6">
                  <c:v>5592599</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7BB5D06-5110-40ED-BBBC-08682B4283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BC14ADC-447A-4C4F-9EA1-F30C472BB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C0E0F4-B00A-4CBF-8547-3C2D946AA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427A1FF-E48A-4959-B0F3-431ACCD85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7759BD2-26F1-4D4F-A62C-7717CB4D0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72B549-A8CB-4DA2-84A0-91DA835A33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4EBE08B-E3F1-4718-811D-79BF9640C0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5435280-9D66-4A31-9791-6C4D548CF3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A9CC5E4-CF39-4EC3-832A-CD564E29F7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038F31-10D7-4930-98D0-9FAF231D74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822E80-CD5E-4D1C-A52E-DFB230EB31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753B756-A656-44C8-BD79-3CC10EC06F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4AF59B4-B44D-49BA-9279-61F3CBF4F8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7A1FBBB-CDBE-4859-A342-0FE241BB3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71D1EFE-0446-490B-9ECF-94D8F80F24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FA3671-CAC3-4B62-9A81-8401192A7C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6A82C0E-D3D8-4E74-92DC-CAD98B21C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2B50395-1BD8-4A97-BDF6-CA05B3844C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0860E1-A503-474A-BBFB-3B45715C0D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8929734-7932-4FA0-93EE-76317D914E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1B4712C-AB62-4156-9DA2-C1EBD9E02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7D63C0A-6051-4BE8-8B3B-A2657EB60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AE6CC3-9966-4A84-B2E6-A72BB5361E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969AAE5-A6C3-4FBE-BD9B-D67EADB35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699999999999998</c:v>
                </c:pt>
                <c:pt idx="1">
                  <c:v>1.17</c:v>
                </c:pt>
                <c:pt idx="2">
                  <c:v>0.81799999999999995</c:v>
                </c:pt>
                <c:pt idx="3">
                  <c:v>1.0940000000000001</c:v>
                </c:pt>
                <c:pt idx="4">
                  <c:v>1.0469999999999999</c:v>
                </c:pt>
                <c:pt idx="5">
                  <c:v>0.97399999999999998</c:v>
                </c:pt>
                <c:pt idx="6">
                  <c:v>1.151</c:v>
                </c:pt>
                <c:pt idx="7">
                  <c:v>1.401</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1BE085D-7837-4875-9E13-1A1A94D8C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1341015-A121-4A3B-9290-AEF1628F70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0635FF-03A7-47B7-ABC7-172CB836F6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5B6AAC6-C5D8-4078-945D-B2E7DD096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E1FB8D6-8CC8-4E5F-A253-2032612097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329CADA-E7B2-4021-8C4C-DE3544D5F5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4743765-9160-4E8F-BA6A-914007F46F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7C54145-A2EC-44A0-9AE8-BEFAE024A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510FAA0-B4E4-419D-874A-DF2EC1AC7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1409C68-EA5C-4DDB-A692-717206391A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26880C-D3D2-440B-BD7B-7DF3F3F6FE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A43D53A-C6B6-4180-9B8C-0ADA66F466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633C803-FEBC-4097-BFD8-6D41BF26F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472D6B-E4BB-4DD2-A0FE-5E1118C9AC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74E997A-D61C-458B-A3C5-A552B22B54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70618B-7DAA-49BB-B88F-4ADF5325A2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1FD583D-CE8F-4338-89EE-A7D1F6079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335EBCC-5F29-4E15-9184-8576830907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2E36DE-4275-47C8-9FC1-F1423AD04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98F1C6B-00B6-4C6A-86B5-31F3EFD38C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83095A-8311-4A89-8DEF-A3A85C685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95464F1-4D54-437D-ADEF-F27B4BDE40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07F8DEA-C640-4566-8099-1A0B34EE7E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3D74941-F7A6-4E5B-AC1E-03CF22289A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3EF81C-45F7-4A33-99C9-282A4CDFA9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55F2F1C-0389-4AC5-B73A-0E6D90071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DEA450-9649-4C3B-B3EA-EE3D4D56B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419153F-5F7B-43EC-A515-AF8D0CC377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B293FDB-5BC6-43DC-BE15-5677A22696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582DAC-853D-4386-BDDD-B112A5BACC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7736D423-96A1-485D-B4A7-2C8367522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7FC5DCDF-1C0A-49DF-B6D2-0F543689F4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6366000000000001</c:v>
                </c:pt>
                <c:pt idx="2">
                  <c:v>3.2170999999999998</c:v>
                </c:pt>
                <c:pt idx="3">
                  <c:v>2.5398000000000001</c:v>
                </c:pt>
                <c:pt idx="4">
                  <c:v>2.9603000000000002</c:v>
                </c:pt>
                <c:pt idx="5">
                  <c:v>3.4443000000000001</c:v>
                </c:pt>
                <c:pt idx="6">
                  <c:v>2.6857000000000002</c:v>
                </c:pt>
                <c:pt idx="7">
                  <c:v>3.0390000000000001</c:v>
                </c:pt>
              </c:numCache>
            </c:numRef>
          </c:xVal>
          <c:yVal>
            <c:numRef>
              <c:f>Sheet1!$B$2:$B$9</c:f>
              <c:numCache>
                <c:formatCode>General</c:formatCode>
                <c:ptCount val="8"/>
                <c:pt idx="0">
                  <c:v>0.85</c:v>
                </c:pt>
                <c:pt idx="1">
                  <c:v>0.92800000000000005</c:v>
                </c:pt>
                <c:pt idx="2">
                  <c:v>1.296</c:v>
                </c:pt>
                <c:pt idx="3">
                  <c:v>1.181</c:v>
                </c:pt>
                <c:pt idx="4">
                  <c:v>1.145</c:v>
                </c:pt>
                <c:pt idx="5">
                  <c:v>0.97299999999999998</c:v>
                </c:pt>
                <c:pt idx="6">
                  <c:v>1.5580000000000001</c:v>
                </c:pt>
                <c:pt idx="7">
                  <c:v>1.1499999999999999</c:v>
                </c:pt>
              </c:numCache>
            </c:numRef>
          </c:yVal>
          <c:bubbleSize>
            <c:numRef>
              <c:f>Sheet1!$C$2:$C$9</c:f>
              <c:numCache>
                <c:formatCode>General</c:formatCode>
                <c:ptCount val="8"/>
                <c:pt idx="0">
                  <c:v>160601106</c:v>
                </c:pt>
                <c:pt idx="1">
                  <c:v>25846068</c:v>
                </c:pt>
                <c:pt idx="2">
                  <c:v>14772179</c:v>
                </c:pt>
                <c:pt idx="3">
                  <c:v>13917161</c:v>
                </c:pt>
                <c:pt idx="4">
                  <c:v>9429711</c:v>
                </c:pt>
                <c:pt idx="5">
                  <c:v>5658645</c:v>
                </c:pt>
                <c:pt idx="6">
                  <c:v>5592599</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Entremont</c:v>
                  </c:pt>
                  <c:pt idx="3">
                    <c:v>Galbani</c:v>
                  </c:pt>
                  <c:pt idx="4">
                    <c:v>St Moret</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9327C7-5E29-4F7E-9619-3A87C7E216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3744A9E-9BA7-48C0-9EAD-BDA685AAF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2FEF176-3073-47CD-AE51-F352E9D8B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D700150-CE08-4BEA-A333-67DA54C4E1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58FB614-BF57-4C92-B8D4-5A696D23C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0FD9D03-45E0-4E9D-A51C-297BE21FE9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2F4E84-F9C8-4035-85B6-2DD13598AB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D664AD6-9484-4CE9-99EF-99E327847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50000000000001</c:v>
                </c:pt>
                <c:pt idx="3">
                  <c:v>3.7193999999999998</c:v>
                </c:pt>
                <c:pt idx="4">
                  <c:v>2.7090000000000001</c:v>
                </c:pt>
                <c:pt idx="5">
                  <c:v>1.2703</c:v>
                </c:pt>
              </c:numCache>
            </c:numRef>
          </c:xVal>
          <c:yVal>
            <c:numRef>
              <c:f>Sheet1!$B$2:$B$7</c:f>
              <c:numCache>
                <c:formatCode>General</c:formatCode>
                <c:ptCount val="6"/>
                <c:pt idx="0">
                  <c:v>0.83799999999999997</c:v>
                </c:pt>
                <c:pt idx="1">
                  <c:v>1.097</c:v>
                </c:pt>
                <c:pt idx="2">
                  <c:v>1.583</c:v>
                </c:pt>
                <c:pt idx="3">
                  <c:v>1.4410000000000001</c:v>
                </c:pt>
                <c:pt idx="4">
                  <c:v>1.4570000000000001</c:v>
                </c:pt>
                <c:pt idx="5">
                  <c:v>0.86599999999999999</c:v>
                </c:pt>
              </c:numCache>
            </c:numRef>
          </c:yVal>
          <c:bubbleSize>
            <c:numRef>
              <c:f>Sheet1!$C$2:$C$7</c:f>
              <c:numCache>
                <c:formatCode>General</c:formatCode>
                <c:ptCount val="6"/>
                <c:pt idx="0">
                  <c:v>3832147</c:v>
                </c:pt>
                <c:pt idx="1">
                  <c:v>2828625</c:v>
                </c:pt>
                <c:pt idx="2">
                  <c:v>442886</c:v>
                </c:pt>
                <c:pt idx="3">
                  <c:v>266365</c:v>
                </c:pt>
                <c:pt idx="4">
                  <c:v>173582</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6ED7408-48DD-457F-9931-A5A4AECF51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E78601E-DF4C-4965-ADF6-E39045A977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48C253C-9C80-4905-9881-8EC9F1969D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96AF60F-FC39-4D8F-9E98-4AA22686E5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B51CFE-604B-4BEA-B9BC-1DD0963CB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105018D-E967-4AAD-BDA1-7AB7F2EBED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0CF7039-F354-480F-BC00-5E61615D70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FEFF824-7201-4DED-9D17-C5EBD969E8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69999999999999</c:v>
                </c:pt>
                <c:pt idx="3">
                  <c:v>3.7195999999999998</c:v>
                </c:pt>
                <c:pt idx="4">
                  <c:v>2.7090000000000001</c:v>
                </c:pt>
                <c:pt idx="5">
                  <c:v>1.2703</c:v>
                </c:pt>
              </c:numCache>
            </c:numRef>
          </c:xVal>
          <c:yVal>
            <c:numRef>
              <c:f>Sheet1!$B$2:$B$7</c:f>
              <c:numCache>
                <c:formatCode>General</c:formatCode>
                <c:ptCount val="6"/>
                <c:pt idx="0">
                  <c:v>0.83799999999999997</c:v>
                </c:pt>
                <c:pt idx="1">
                  <c:v>1.0960000000000001</c:v>
                </c:pt>
                <c:pt idx="2">
                  <c:v>1.589</c:v>
                </c:pt>
                <c:pt idx="3">
                  <c:v>1.448</c:v>
                </c:pt>
                <c:pt idx="4">
                  <c:v>1.4570000000000001</c:v>
                </c:pt>
                <c:pt idx="5">
                  <c:v>0.86599999999999999</c:v>
                </c:pt>
              </c:numCache>
            </c:numRef>
          </c:yVal>
          <c:bubbleSize>
            <c:numRef>
              <c:f>Sheet1!$C$2:$C$7</c:f>
              <c:numCache>
                <c:formatCode>General</c:formatCode>
                <c:ptCount val="6"/>
                <c:pt idx="0">
                  <c:v>3832081</c:v>
                </c:pt>
                <c:pt idx="1">
                  <c:v>2828611</c:v>
                </c:pt>
                <c:pt idx="2">
                  <c:v>442466</c:v>
                </c:pt>
                <c:pt idx="3">
                  <c:v>265726</c:v>
                </c:pt>
                <c:pt idx="4">
                  <c:v>173579</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8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4CD4C4-C573-4CAD-BE9B-2CA7CB953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9F7655-3321-428C-AB01-B5C25DF160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57FBEC3-C3B2-4AAB-B1B2-71E4E41F71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3DE242D-8614-4448-9089-160B87C47B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0016CD-2A3D-4D2F-8751-7659DB9895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9B97299-BB56-406B-95C9-29732FEC02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80BECEB-05B5-4CB4-850F-757564AA36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427CD2-5517-4CFD-9E72-CC1C5630A3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82ADCF0-4B79-4623-A2C5-2699C695FA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30486EC-194D-450F-B4D2-F123D898D8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7F4F958-BF9A-499A-8988-2E3012E6F5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A2EC0AB-3D75-4A16-A3DD-CFE7B3C42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62CF6FB-9F1A-4169-80DD-9B00C043E7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FE47D7F-E706-4E7B-8DB6-5C10988533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5A20918-4F70-4BFF-8FBB-3DCED2A48C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CF8923-ACCA-47C7-B28C-D8241F0D04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C69A969-E9E5-4BFF-A20B-8FC6E6065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36ED4B-E794-4F95-8411-547138FBE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D4349D9-552C-4CA3-8325-4CD67B13A9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0048383-6630-435C-8F28-7796E29C2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48A56E6-E352-4854-86C9-2060272A66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171B96-6FDA-4DEE-ACB2-43BC6916A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261EBFF-929A-4AD3-943D-8C895E2E86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6015A5D-1491-456B-AB4F-E496D35448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28EA8B-49A8-4D59-BAEF-54B883625B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FD5F9F-B6EC-47AA-B2BE-DE07890C3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E7D7D2-43C2-423A-A01B-176EFD1B4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E524ADB-2429-4BD5-A933-30BEC6F0F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1745E1-ADE9-4635-802A-4CC0F8E62A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D93BD4C-7910-4ED1-98F7-3D61C47669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DDF40C5-2F9F-4523-B5CC-E391A6E8F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A8EE6B2-2AFF-42AF-8579-E23686B7C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8521B00-2598-4A8B-BA35-505CB18EFB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2402CE-38E7-4478-BF7B-4B73E15476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DD3F3F2-5F8F-4663-9079-C8B2A6B2CA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BBD6634-7E21-4F13-ABA1-7C8603BF7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9C11BB4-7705-454C-91AD-61E5EE0DDB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1FCBC1B-95E9-4843-8ADA-B2175568E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04352B3-73B4-40E0-A22E-B117319A5C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E42E507-31BF-40D7-B056-4973D4A5E2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4CA6514-4D29-4757-B6FF-823B5D1C6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4AB7827E-C443-4D38-A232-9C193906DB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0E996A-2B52-42F7-A8C9-D217997F30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A39716-6C09-451C-9C77-ACDAE3204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CD1B0D7-7A3C-4E98-A122-61A903B4CB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B772B335-A575-4E02-B65B-EC4B39F6DD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CE9FA70-74B9-4D7C-96F3-6BFD45E269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4625C977-FB1B-4092-BF08-B57B119192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2</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312C8CA-B454-4B28-B224-8983B454B7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186DCCF-C27A-4E2C-AA05-20994EAB79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6BA201-B526-4C34-B9A9-9B16DDADBA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977DF90-D481-4326-A376-07F017ED3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A757DA7-110C-45FA-B3CD-B31591687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7425A5-A7B6-493F-AF0A-DFA69F914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2F475BA-DF82-4C74-A930-28AAFB4A84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AF9913A-4612-48D6-8042-4E093EA8C0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400000000000002</c:v>
                </c:pt>
                <c:pt idx="1">
                  <c:v>1.032</c:v>
                </c:pt>
                <c:pt idx="2">
                  <c:v>1.175</c:v>
                </c:pt>
                <c:pt idx="3">
                  <c:v>1.0409999999999999</c:v>
                </c:pt>
                <c:pt idx="4">
                  <c:v>1.4279999999999999</c:v>
                </c:pt>
                <c:pt idx="5">
                  <c:v>1.4730000000000001</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52146A3-DD6D-421D-AF84-FB23F1AED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71D09AB-2264-4F46-8919-3978D9161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2739CAA-980C-43ED-9915-B6CDCAAEEA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4AEE2BF-1FEF-4516-A152-AE7C08FCE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FCC4748-55CA-40D4-90F0-9A93A4E27F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34CD75-05ED-46FE-A192-4BF7EC861B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0B782B-73C9-40C1-BBF0-8B2F69A03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2B6BEA9-8839-40A5-B9AF-24928254FD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5EE9EA-6935-4BCE-B307-042331B43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23F4429-EAA2-48BB-8DFF-6213EA4F3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A33B8CF-ECD5-4A63-ADA3-7D4FBF5581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F5E6567-F5C5-4C4B-A5F1-520B7C057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E98824-CC45-4F16-A2BE-5E565C57D8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7A3DBE7-9F85-4EA4-8E4D-72BB1DD2A5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6DDD71-AEDC-47AD-9770-5803F3C1F5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FA966B3-5C5B-494F-81F3-162F1252D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48A6790-F1DE-4E76-B9B4-009862A03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92AF218-ABBF-49E4-B9D1-3B87620A7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2F708D-636E-41C6-8109-CF8F94FEB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BE3677-E6CC-4BA8-997E-BE33E7B998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71FD367-8C12-4BB7-B936-E5DEA6F37B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2B59B21-9025-424E-8D09-83587BFFCD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350B036-C7C2-466E-90D1-4214BB28D1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5C5B3F-B544-42BC-AC6C-E64B893517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74</c:v>
                </c:pt>
                <c:pt idx="1">
                  <c:v>1.089</c:v>
                </c:pt>
                <c:pt idx="2">
                  <c:v>1.056</c:v>
                </c:pt>
                <c:pt idx="3">
                  <c:v>1.2390000000000001</c:v>
                </c:pt>
                <c:pt idx="4">
                  <c:v>1.5640000000000001</c:v>
                </c:pt>
                <c:pt idx="5">
                  <c:v>1.6259999999999999</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664CE2-5BD2-4059-BD42-0C1614D40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7B4943-FB6A-46F1-B642-6C2563AFC8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895D6AA-A8AB-46F4-90F2-C1AE74AF6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321429-06FB-431B-A4BE-3BA9207104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F242C79-C7B1-426F-8568-26D6D4666C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12ABE06-C471-4692-AB08-312623E63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088EB49-A4E5-4E50-9572-0EAB442CFE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50AE63-163E-42A7-BCC9-EBB31C73DB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92999999999999</c:v>
                </c:pt>
                <c:pt idx="1">
                  <c:v>2.7568000000000001</c:v>
                </c:pt>
                <c:pt idx="2">
                  <c:v>2.6282000000000001</c:v>
                </c:pt>
                <c:pt idx="3">
                  <c:v>3.1861000000000002</c:v>
                </c:pt>
                <c:pt idx="4">
                  <c:v>2.7843</c:v>
                </c:pt>
                <c:pt idx="5">
                  <c:v>2.4508000000000001</c:v>
                </c:pt>
                <c:pt idx="6">
                  <c:v>2.4445999999999999</c:v>
                </c:pt>
              </c:numCache>
            </c:numRef>
          </c:xVal>
          <c:yVal>
            <c:numRef>
              <c:f>Sheet1!$B$2:$B$8</c:f>
              <c:numCache>
                <c:formatCode>General</c:formatCode>
                <c:ptCount val="7"/>
                <c:pt idx="0">
                  <c:v>0.84699999999999998</c:v>
                </c:pt>
                <c:pt idx="1">
                  <c:v>1.05</c:v>
                </c:pt>
                <c:pt idx="2">
                  <c:v>1.034</c:v>
                </c:pt>
                <c:pt idx="3">
                  <c:v>1.228</c:v>
                </c:pt>
                <c:pt idx="4">
                  <c:v>1.0660000000000001</c:v>
                </c:pt>
                <c:pt idx="5">
                  <c:v>1.2969999999999999</c:v>
                </c:pt>
                <c:pt idx="6">
                  <c:v>0.96899999999999997</c:v>
                </c:pt>
              </c:numCache>
            </c:numRef>
          </c:yVal>
          <c:bubbleSize>
            <c:numRef>
              <c:f>Sheet1!$C$2:$C$8</c:f>
              <c:numCache>
                <c:formatCode>General</c:formatCode>
                <c:ptCount val="7"/>
                <c:pt idx="0">
                  <c:v>623932113</c:v>
                </c:pt>
                <c:pt idx="1">
                  <c:v>230846945</c:v>
                </c:pt>
                <c:pt idx="2">
                  <c:v>221058561</c:v>
                </c:pt>
                <c:pt idx="3">
                  <c:v>161364371</c:v>
                </c:pt>
                <c:pt idx="4">
                  <c:v>54497273</c:v>
                </c:pt>
                <c:pt idx="5">
                  <c:v>43075846</c:v>
                </c:pt>
                <c:pt idx="6">
                  <c:v>27506509</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56BC432-75F3-4CBE-A598-73669DE476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A233085-2603-4498-A4B7-861CB66DB4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9CB8D9-8705-4B73-83CC-31D566525F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B69EE21-B87E-4623-AAA4-51C51D12D6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B5744FB-BCED-4C86-9CD7-316B6ECB25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EA9FFF4-08B7-48AC-8D31-3101678DBF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391FF22-AA3E-4B98-8C12-2562467A87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FDDED04-1FE6-4848-809A-C2BC78AE0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996000000000002</c:v>
                </c:pt>
                <c:pt idx="1">
                  <c:v>2.7795999999999998</c:v>
                </c:pt>
                <c:pt idx="2">
                  <c:v>3.1964999999999999</c:v>
                </c:pt>
                <c:pt idx="3">
                  <c:v>2.6046999999999998</c:v>
                </c:pt>
                <c:pt idx="4">
                  <c:v>2.8915000000000002</c:v>
                </c:pt>
                <c:pt idx="5">
                  <c:v>2.6497000000000002</c:v>
                </c:pt>
                <c:pt idx="6">
                  <c:v>2.4577</c:v>
                </c:pt>
              </c:numCache>
            </c:numRef>
          </c:xVal>
          <c:yVal>
            <c:numRef>
              <c:f>Sheet1!$B$2:$B$8</c:f>
              <c:numCache>
                <c:formatCode>General</c:formatCode>
                <c:ptCount val="7"/>
                <c:pt idx="0">
                  <c:v>0.86899999999999999</c:v>
                </c:pt>
                <c:pt idx="1">
                  <c:v>0.99</c:v>
                </c:pt>
                <c:pt idx="2">
                  <c:v>1.1259999999999999</c:v>
                </c:pt>
                <c:pt idx="3">
                  <c:v>0.96599999999999997</c:v>
                </c:pt>
                <c:pt idx="4">
                  <c:v>1.0169999999999999</c:v>
                </c:pt>
                <c:pt idx="5">
                  <c:v>1.29</c:v>
                </c:pt>
                <c:pt idx="6">
                  <c:v>0.89200000000000002</c:v>
                </c:pt>
              </c:numCache>
            </c:numRef>
          </c:yVal>
          <c:bubbleSize>
            <c:numRef>
              <c:f>Sheet1!$C$2:$C$8</c:f>
              <c:numCache>
                <c:formatCode>General</c:formatCode>
                <c:ptCount val="7"/>
                <c:pt idx="0">
                  <c:v>78402914</c:v>
                </c:pt>
                <c:pt idx="1">
                  <c:v>39941311</c:v>
                </c:pt>
                <c:pt idx="2">
                  <c:v>30956795</c:v>
                </c:pt>
                <c:pt idx="3">
                  <c:v>30134139</c:v>
                </c:pt>
                <c:pt idx="4">
                  <c:v>8949359</c:v>
                </c:pt>
                <c:pt idx="5">
                  <c:v>7961029</c:v>
                </c:pt>
                <c:pt idx="6">
                  <c:v>498920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E26D6FF-0C05-4095-A99E-64D08B4D5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1D2C4C7-EA62-4E4A-898F-415EEEA460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660EB00-A5D7-437D-8AC0-1FF540C4AA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318908-DF9D-4080-A82C-1C1979AE1F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6F92F18-6F0E-473C-89FA-B4F6B731D5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84E120-7ADE-49E0-B7EB-0854FC92EF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8504B53-DFCD-4C35-980A-BE1DDDA1B0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7D33FC2-8ED0-479B-BE1C-011A74BF2E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2044999999999999</c:v>
                </c:pt>
                <c:pt idx="1">
                  <c:v>2.8706</c:v>
                </c:pt>
                <c:pt idx="2">
                  <c:v>2.8835000000000002</c:v>
                </c:pt>
                <c:pt idx="3">
                  <c:v>3.2128000000000001</c:v>
                </c:pt>
                <c:pt idx="4">
                  <c:v>3.2303000000000002</c:v>
                </c:pt>
                <c:pt idx="5">
                  <c:v>2.7543000000000002</c:v>
                </c:pt>
                <c:pt idx="6">
                  <c:v>2.3393000000000002</c:v>
                </c:pt>
                <c:pt idx="7">
                  <c:v>2.4453</c:v>
                </c:pt>
              </c:numCache>
            </c:numRef>
          </c:xVal>
          <c:yVal>
            <c:numRef>
              <c:f>Sheet1!$B$2:$B$9</c:f>
              <c:numCache>
                <c:formatCode>General</c:formatCode>
                <c:ptCount val="8"/>
                <c:pt idx="0">
                  <c:v>0.85</c:v>
                </c:pt>
                <c:pt idx="1">
                  <c:v>1.07</c:v>
                </c:pt>
                <c:pt idx="2">
                  <c:v>1.135</c:v>
                </c:pt>
                <c:pt idx="3">
                  <c:v>1.272</c:v>
                </c:pt>
                <c:pt idx="4">
                  <c:v>1.2969999999999999</c:v>
                </c:pt>
                <c:pt idx="5">
                  <c:v>1.111</c:v>
                </c:pt>
                <c:pt idx="6">
                  <c:v>1.4450000000000001</c:v>
                </c:pt>
                <c:pt idx="7">
                  <c:v>0.98899999999999999</c:v>
                </c:pt>
              </c:numCache>
            </c:numRef>
          </c:yVal>
          <c:bubbleSize>
            <c:numRef>
              <c:f>Sheet1!$C$2:$C$9</c:f>
              <c:numCache>
                <c:formatCode>General</c:formatCode>
                <c:ptCount val="8"/>
                <c:pt idx="0">
                  <c:v>160601106</c:v>
                </c:pt>
                <c:pt idx="1">
                  <c:v>67333071</c:v>
                </c:pt>
                <c:pt idx="2">
                  <c:v>46502912</c:v>
                </c:pt>
                <c:pt idx="3">
                  <c:v>27737899</c:v>
                </c:pt>
                <c:pt idx="4">
                  <c:v>14677229</c:v>
                </c:pt>
                <c:pt idx="5">
                  <c:v>11017660</c:v>
                </c:pt>
                <c:pt idx="6">
                  <c:v>5724807</c:v>
                </c:pt>
                <c:pt idx="7">
                  <c:v>4050093</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Savencia</c:v>
                  </c:pt>
                  <c:pt idx="3">
                    <c:v>Bel</c:v>
                  </c:pt>
                  <c:pt idx="4">
                    <c:v>Entremont</c:v>
                  </c:pt>
                  <c:pt idx="5">
                    <c:v>Eurial</c:v>
                  </c:pt>
                  <c:pt idx="6">
                    <c:v>Casa Azzurra</c:v>
                  </c:pt>
                  <c:pt idx="7">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E8A7FB7-50CB-4894-A80A-B886D5771E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8982E98-ACE3-440E-9FBA-825A9F0A6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78BDEA-437F-40B8-925A-A975C39EB2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6601EAF-EB5F-4846-85FB-EFC2DF077B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76E3FA5-0208-49B2-93A2-FBD52A6AB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146AE7C-4094-42A5-9EE7-C710C4B62F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1FA7BB5-1A42-451A-9E33-FEDF41B3B8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ADBDB6-AF75-4223-A41F-7F6DF3F29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27000000000002</c:v>
                </c:pt>
                <c:pt idx="1">
                  <c:v>2.7843</c:v>
                </c:pt>
                <c:pt idx="2">
                  <c:v>2.5455999999999999</c:v>
                </c:pt>
                <c:pt idx="3">
                  <c:v>3.0708000000000002</c:v>
                </c:pt>
                <c:pt idx="4">
                  <c:v>2.7917999999999998</c:v>
                </c:pt>
                <c:pt idx="5">
                  <c:v>2.4697</c:v>
                </c:pt>
                <c:pt idx="6">
                  <c:v>2.4439000000000002</c:v>
                </c:pt>
              </c:numCache>
            </c:numRef>
          </c:xVal>
          <c:yVal>
            <c:numRef>
              <c:f>Sheet1!$B$2:$B$8</c:f>
              <c:numCache>
                <c:formatCode>General</c:formatCode>
                <c:ptCount val="7"/>
                <c:pt idx="0">
                  <c:v>0.85599999999999998</c:v>
                </c:pt>
                <c:pt idx="1">
                  <c:v>1.0249999999999999</c:v>
                </c:pt>
                <c:pt idx="2">
                  <c:v>1.0369999999999999</c:v>
                </c:pt>
                <c:pt idx="3">
                  <c:v>1.1679999999999999</c:v>
                </c:pt>
                <c:pt idx="4">
                  <c:v>1.069</c:v>
                </c:pt>
                <c:pt idx="5">
                  <c:v>1.2989999999999999</c:v>
                </c:pt>
                <c:pt idx="6">
                  <c:v>0.98</c:v>
                </c:pt>
              </c:numCache>
            </c:numRef>
          </c:yVal>
          <c:bubbleSize>
            <c:numRef>
              <c:f>Sheet1!$C$2:$C$8</c:f>
              <c:numCache>
                <c:formatCode>General</c:formatCode>
                <c:ptCount val="7"/>
                <c:pt idx="0">
                  <c:v>519196378</c:v>
                </c:pt>
                <c:pt idx="1">
                  <c:v>207969796</c:v>
                </c:pt>
                <c:pt idx="2">
                  <c:v>184128031</c:v>
                </c:pt>
                <c:pt idx="3">
                  <c:v>122270486</c:v>
                </c:pt>
                <c:pt idx="4">
                  <c:v>51892782</c:v>
                </c:pt>
                <c:pt idx="5">
                  <c:v>41232866</c:v>
                </c:pt>
                <c:pt idx="6">
                  <c:v>2718258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667476F-F986-4DE2-B2F7-11B3BBD8967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6A8317D-5A41-4DA8-8CEB-45EF680D49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CEC85F-4108-4CB2-A8B2-402DA1DB88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0A4DF49-9EC1-49A5-9346-0E43ED3FF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51F5C5-D6E5-4412-B686-52F0E71C79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2B1BB9D-79FF-45BA-BB4C-1FF07E1576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5A4DC14D-FFF7-4979-A1C2-1B7A148AE5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1838AA9-E421-421E-BA51-444779BA11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82</c:v>
                </c:pt>
                <c:pt idx="2">
                  <c:v>2.6032000000000002</c:v>
                </c:pt>
                <c:pt idx="3">
                  <c:v>3.0579000000000001</c:v>
                </c:pt>
                <c:pt idx="4">
                  <c:v>2.8915000000000002</c:v>
                </c:pt>
                <c:pt idx="5">
                  <c:v>2.6497000000000002</c:v>
                </c:pt>
                <c:pt idx="6">
                  <c:v>2.4577</c:v>
                </c:pt>
                <c:pt idx="7">
                  <c:v>2.7347999999999999</c:v>
                </c:pt>
              </c:numCache>
            </c:numRef>
          </c:xVal>
          <c:yVal>
            <c:numRef>
              <c:f>Sheet1!$B$2:$B$9</c:f>
              <c:numCache>
                <c:formatCode>General</c:formatCode>
                <c:ptCount val="8"/>
                <c:pt idx="0">
                  <c:v>0.88300000000000001</c:v>
                </c:pt>
                <c:pt idx="1">
                  <c:v>0.98599999999999999</c:v>
                </c:pt>
                <c:pt idx="2">
                  <c:v>0.97899999999999998</c:v>
                </c:pt>
                <c:pt idx="3">
                  <c:v>1.0580000000000001</c:v>
                </c:pt>
                <c:pt idx="4">
                  <c:v>1.0369999999999999</c:v>
                </c:pt>
                <c:pt idx="5">
                  <c:v>1.3160000000000001</c:v>
                </c:pt>
                <c:pt idx="6">
                  <c:v>0.90900000000000003</c:v>
                </c:pt>
                <c:pt idx="7">
                  <c:v>1.871</c:v>
                </c:pt>
              </c:numCache>
            </c:numRef>
          </c:yVal>
          <c:bubbleSize>
            <c:numRef>
              <c:f>Sheet1!$C$2:$C$9</c:f>
              <c:numCache>
                <c:formatCode>General</c:formatCode>
                <c:ptCount val="8"/>
                <c:pt idx="0">
                  <c:v>77897599</c:v>
                </c:pt>
                <c:pt idx="1">
                  <c:v>37828387</c:v>
                </c:pt>
                <c:pt idx="2">
                  <c:v>29884062</c:v>
                </c:pt>
                <c:pt idx="3">
                  <c:v>23567757</c:v>
                </c:pt>
                <c:pt idx="4">
                  <c:v>8949359</c:v>
                </c:pt>
                <c:pt idx="5">
                  <c:v>7961029</c:v>
                </c:pt>
                <c:pt idx="6">
                  <c:v>4989207</c:v>
                </c:pt>
                <c:pt idx="7">
                  <c:v>2314948</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32851E9-B7CB-448A-AEC6-28447F151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41C9B94-F7D9-4A6F-BC66-48957EFE30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2FEA74A-29C2-4530-9348-A517C81B4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07EFC9-B14A-42C7-A744-8B8E93D48A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51648D9-7E7B-400E-8EA9-65140B2F2B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E3C964-B953-42E8-AC60-7340DB27E0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C35C70F-827A-45C5-A5E5-F6D7FE5D1C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022576-C338-49AE-8191-F45A5F106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131000000000001</c:v>
                </c:pt>
                <c:pt idx="1">
                  <c:v>2.8401999999999998</c:v>
                </c:pt>
                <c:pt idx="2">
                  <c:v>2.6168</c:v>
                </c:pt>
                <c:pt idx="3">
                  <c:v>3.0758999999999999</c:v>
                </c:pt>
                <c:pt idx="4">
                  <c:v>2.7930999999999999</c:v>
                </c:pt>
                <c:pt idx="5">
                  <c:v>2.4775999999999998</c:v>
                </c:pt>
                <c:pt idx="6">
                  <c:v>2.4403999999999999</c:v>
                </c:pt>
              </c:numCache>
            </c:numRef>
          </c:xVal>
          <c:yVal>
            <c:numRef>
              <c:f>Sheet1!$B$2:$B$8</c:f>
              <c:numCache>
                <c:formatCode>General</c:formatCode>
                <c:ptCount val="7"/>
                <c:pt idx="0">
                  <c:v>0.84699999999999998</c:v>
                </c:pt>
                <c:pt idx="1">
                  <c:v>1.038</c:v>
                </c:pt>
                <c:pt idx="2">
                  <c:v>1.0469999999999999</c:v>
                </c:pt>
                <c:pt idx="3">
                  <c:v>1.204</c:v>
                </c:pt>
                <c:pt idx="4">
                  <c:v>1.0580000000000001</c:v>
                </c:pt>
                <c:pt idx="5">
                  <c:v>1.331</c:v>
                </c:pt>
                <c:pt idx="6">
                  <c:v>0.97799999999999998</c:v>
                </c:pt>
              </c:numCache>
            </c:numRef>
          </c:yVal>
          <c:bubbleSize>
            <c:numRef>
              <c:f>Sheet1!$C$2:$C$8</c:f>
              <c:numCache>
                <c:formatCode>General</c:formatCode>
                <c:ptCount val="7"/>
                <c:pt idx="0">
                  <c:v>58897416</c:v>
                </c:pt>
                <c:pt idx="1">
                  <c:v>33665330</c:v>
                </c:pt>
                <c:pt idx="2">
                  <c:v>31068808</c:v>
                </c:pt>
                <c:pt idx="3">
                  <c:v>19359820</c:v>
                </c:pt>
                <c:pt idx="4">
                  <c:v>8454992</c:v>
                </c:pt>
                <c:pt idx="5">
                  <c:v>3881891</c:v>
                </c:pt>
                <c:pt idx="6">
                  <c:v>3726300</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23F3B95-0DB7-4ABB-AFF3-D453AFF48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F6BB6F4-ACF4-4845-B574-35A909D0A9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AD63064-CEA3-4206-B146-1F9285F39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3507A7-6177-4392-AA22-99A5238AB0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291DA23-2417-45DA-8B52-AD7AFE357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5F850E8-3CE1-48A6-84A7-B0BDAAB80B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8007C88-3D24-4753-853E-83922724A7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6DD4816-03DE-44C7-86B6-A964071573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92</c:v>
                </c:pt>
                <c:pt idx="1">
                  <c:v>2.1379000000000001</c:v>
                </c:pt>
                <c:pt idx="2">
                  <c:v>2.8439999999999999</c:v>
                </c:pt>
                <c:pt idx="3">
                  <c:v>3.3717999999999999</c:v>
                </c:pt>
              </c:numCache>
            </c:numRef>
          </c:xVal>
          <c:yVal>
            <c:numRef>
              <c:f>Sheet1!$B$2:$B$5</c:f>
              <c:numCache>
                <c:formatCode>General</c:formatCode>
                <c:ptCount val="4"/>
                <c:pt idx="0">
                  <c:v>0.93400000000000005</c:v>
                </c:pt>
                <c:pt idx="1">
                  <c:v>1.075</c:v>
                </c:pt>
                <c:pt idx="2">
                  <c:v>1.306</c:v>
                </c:pt>
                <c:pt idx="3">
                  <c:v>1.6950000000000001</c:v>
                </c:pt>
              </c:numCache>
            </c:numRef>
          </c:yVal>
          <c:bubbleSize>
            <c:numRef>
              <c:f>Sheet1!$C$2:$C$5</c:f>
              <c:numCache>
                <c:formatCode>General</c:formatCode>
                <c:ptCount val="4"/>
                <c:pt idx="0">
                  <c:v>36938121</c:v>
                </c:pt>
                <c:pt idx="1">
                  <c:v>11829385</c:v>
                </c:pt>
                <c:pt idx="2">
                  <c:v>3695927</c:v>
                </c:pt>
                <c:pt idx="3">
                  <c:v>664513</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33B0798-DEC7-49AE-BA0D-0BF38276FC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42D8E43-AE6C-4009-B031-E45A03666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F5CFBEA-EA4C-4FBA-8EF9-7B07C3B1E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0E817B9-B6C0-465D-9662-0EDDA6012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8643A4E-90EB-4564-B71A-74B883189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D4DEB313-7E9C-4C8F-848F-A01515392C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79F317C-83F3-4E36-8908-5698883CF6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38AC7A4-F898-4B9A-AEB9-DC29C4AA0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938000000000001</c:v>
                </c:pt>
                <c:pt idx="1">
                  <c:v>2.2122000000000002</c:v>
                </c:pt>
                <c:pt idx="2">
                  <c:v>3.1278999999999999</c:v>
                </c:pt>
                <c:pt idx="3">
                  <c:v>2.7902</c:v>
                </c:pt>
              </c:numCache>
            </c:numRef>
          </c:xVal>
          <c:yVal>
            <c:numRef>
              <c:f>Sheet1!$B$2:$B$5</c:f>
              <c:numCache>
                <c:formatCode>General</c:formatCode>
                <c:ptCount val="4"/>
                <c:pt idx="0">
                  <c:v>0.93400000000000005</c:v>
                </c:pt>
                <c:pt idx="1">
                  <c:v>1.048</c:v>
                </c:pt>
                <c:pt idx="2">
                  <c:v>1.492</c:v>
                </c:pt>
                <c:pt idx="3">
                  <c:v>1.762</c:v>
                </c:pt>
              </c:numCache>
            </c:numRef>
          </c:yVal>
          <c:bubbleSize>
            <c:numRef>
              <c:f>Sheet1!$C$2:$C$5</c:f>
              <c:numCache>
                <c:formatCode>General</c:formatCode>
                <c:ptCount val="4"/>
                <c:pt idx="0">
                  <c:v>7143856</c:v>
                </c:pt>
                <c:pt idx="1">
                  <c:v>2085021</c:v>
                </c:pt>
                <c:pt idx="2">
                  <c:v>505315</c:v>
                </c:pt>
                <c:pt idx="3">
                  <c:v>250077</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C3FEBE-ACD1-4BFD-9A43-016C01B7F7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EF88ABC-E118-481F-A825-FC8831B7BD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5EF9ADF-0F66-4C3F-A8B7-3A26AA7C61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9FD6D543-68FE-4FC9-AE15-203D4F212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B34B453-391D-49F8-81BB-D0B563FC7A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E9A1873-59B2-467D-84AE-C070567D81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B99D1F3-9B07-4586-891F-A861DF635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F1642D1-F806-413B-8F1E-AD5ACB7B8F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656000000000001</c:v>
                </c:pt>
                <c:pt idx="1">
                  <c:v>2.3357999999999999</c:v>
                </c:pt>
                <c:pt idx="2">
                  <c:v>2.6114000000000002</c:v>
                </c:pt>
              </c:numCache>
            </c:numRef>
          </c:xVal>
          <c:yVal>
            <c:numRef>
              <c:f>Sheet1!$B$2:$B$4</c:f>
              <c:numCache>
                <c:formatCode>General</c:formatCode>
                <c:ptCount val="3"/>
                <c:pt idx="0">
                  <c:v>0.96099999999999997</c:v>
                </c:pt>
                <c:pt idx="1">
                  <c:v>1.1559999999999999</c:v>
                </c:pt>
                <c:pt idx="2">
                  <c:v>0.97599999999999998</c:v>
                </c:pt>
              </c:numCache>
            </c:numRef>
          </c:yVal>
          <c:bubbleSize>
            <c:numRef>
              <c:f>Sheet1!$C$2:$C$4</c:f>
              <c:numCache>
                <c:formatCode>General</c:formatCode>
                <c:ptCount val="3"/>
                <c:pt idx="0">
                  <c:v>6950194</c:v>
                </c:pt>
                <c:pt idx="1">
                  <c:v>2248742</c:v>
                </c:pt>
                <c:pt idx="2">
                  <c:v>736159</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78D76811-AF55-40B9-8EAF-057ABB554F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B1F21F50-E7C9-49C2-A2D4-2E03B46B6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F204F10-5760-412C-A067-7EB86DBC50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01779266-2E39-43EC-BBF4-2E2393FC5F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256D7ECC-569D-4344-B566-DF3D3BF553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F694C0B3-1CEF-4143-90E9-00D631434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5E70004-D664-4E56-8914-507FD1E5A0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23484B62-CFAD-4907-BE2E-38417AEC85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EC8088-506A-4C83-A2D5-FD11D017C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508CFA-2304-408E-89B4-54E7BDF30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6AAF31E-29CB-4489-9CEE-C0AF1D0730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C72EBDB-35D5-4159-BBBB-20D9238758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5D8FC6E-9855-4479-828A-E8B28D1D76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8FD29C79-E7E9-43F7-BBF0-EDABC66264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5A543E2-83AC-4F66-A686-63D73619E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0E227BF-9B3A-43B7-A498-C67E3FE24A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875999999999999</c:v>
                </c:pt>
                <c:pt idx="1">
                  <c:v>2.2650999999999999</c:v>
                </c:pt>
                <c:pt idx="2">
                  <c:v>2.7081</c:v>
                </c:pt>
                <c:pt idx="3">
                  <c:v>2.71</c:v>
                </c:pt>
              </c:numCache>
            </c:numRef>
          </c:xVal>
          <c:yVal>
            <c:numRef>
              <c:f>Sheet1!$B$2:$B$5</c:f>
              <c:numCache>
                <c:formatCode>General</c:formatCode>
                <c:ptCount val="4"/>
                <c:pt idx="0">
                  <c:v>0.83799999999999997</c:v>
                </c:pt>
                <c:pt idx="1">
                  <c:v>1.1619999999999999</c:v>
                </c:pt>
                <c:pt idx="2">
                  <c:v>1.456</c:v>
                </c:pt>
                <c:pt idx="3">
                  <c:v>1.4019999999999999</c:v>
                </c:pt>
              </c:numCache>
            </c:numRef>
          </c:yVal>
          <c:bubbleSize>
            <c:numRef>
              <c:f>Sheet1!$C$2:$C$5</c:f>
              <c:numCache>
                <c:formatCode>General</c:formatCode>
                <c:ptCount val="4"/>
                <c:pt idx="0">
                  <c:v>3832147</c:v>
                </c:pt>
                <c:pt idx="1">
                  <c:v>3537876</c:v>
                </c:pt>
                <c:pt idx="2">
                  <c:v>173629</c:v>
                </c:pt>
                <c:pt idx="3">
                  <c:v>91696</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C043E5F-E3EB-483E-8895-E2D7BC284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FBBCD1-1473-4C3B-AB4A-E20C35F5F1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AF8F6D2-7E58-4E75-BF80-773C7E73A0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5AF0957-F55B-45AD-BFB2-83F6672D57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9CD6F97-6A8E-476F-8007-17EA3282EA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9C0875F-1C9F-419C-ADFA-AA93E660E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5F955B-58C5-41C3-AA33-2D2C4E6EB8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E789CCD-9AF0-46D0-85ED-51E949F0C6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5875999999999999</c:v>
                </c:pt>
                <c:pt idx="1">
                  <c:v>2.2648999999999999</c:v>
                </c:pt>
                <c:pt idx="2">
                  <c:v>2.7082000000000002</c:v>
                </c:pt>
                <c:pt idx="3">
                  <c:v>2.7107000000000001</c:v>
                </c:pt>
              </c:numCache>
            </c:numRef>
          </c:xVal>
          <c:yVal>
            <c:numRef>
              <c:f>Sheet1!$B$2:$B$5</c:f>
              <c:numCache>
                <c:formatCode>General</c:formatCode>
                <c:ptCount val="4"/>
                <c:pt idx="0">
                  <c:v>0.83799999999999997</c:v>
                </c:pt>
                <c:pt idx="1">
                  <c:v>1.163</c:v>
                </c:pt>
                <c:pt idx="2">
                  <c:v>1.4570000000000001</c:v>
                </c:pt>
                <c:pt idx="3">
                  <c:v>1.409</c:v>
                </c:pt>
              </c:numCache>
            </c:numRef>
          </c:yVal>
          <c:bubbleSize>
            <c:numRef>
              <c:f>Sheet1!$C$2:$C$5</c:f>
              <c:numCache>
                <c:formatCode>General</c:formatCode>
                <c:ptCount val="4"/>
                <c:pt idx="0">
                  <c:v>3832081</c:v>
                </c:pt>
                <c:pt idx="1">
                  <c:v>3536803</c:v>
                </c:pt>
                <c:pt idx="2">
                  <c:v>173626</c:v>
                </c:pt>
                <c:pt idx="3">
                  <c:v>91689</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Bel</c:v>
                  </c:pt>
                  <c:pt idx="3">
                    <c:v>Mille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5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A7B7A52-68BF-4223-BAA2-546ED4FCB2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2A8071E-FC4C-40A8-BF13-F44CF9B2E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5512A43-2C68-4B34-8C72-9A5DD8EB71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287E410-D98E-4F1B-BF63-0A37B7C33A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05256C0-0296-46EC-B376-51115F480D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158B5BE-58A2-4281-9287-BA1ECDD63C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D2DF2BD-D160-4A76-9AC6-09DC00DD07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C57EFB0-131C-4BBE-8830-3087FCEC7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774000000000001</c:v>
                </c:pt>
                <c:pt idx="1">
                  <c:v>2.2189999999999999</c:v>
                </c:pt>
                <c:pt idx="2">
                  <c:v>2.7052999999999998</c:v>
                </c:pt>
                <c:pt idx="3">
                  <c:v>3.2702</c:v>
                </c:pt>
              </c:numCache>
            </c:numRef>
          </c:xVal>
          <c:yVal>
            <c:numRef>
              <c:f>Sheet1!$B$2:$B$5</c:f>
              <c:numCache>
                <c:formatCode>General</c:formatCode>
                <c:ptCount val="4"/>
                <c:pt idx="0">
                  <c:v>1.0780000000000001</c:v>
                </c:pt>
                <c:pt idx="1">
                  <c:v>0.624</c:v>
                </c:pt>
                <c:pt idx="2">
                  <c:v>1.8620000000000001</c:v>
                </c:pt>
                <c:pt idx="3">
                  <c:v>1.425</c:v>
                </c:pt>
              </c:numCache>
            </c:numRef>
          </c:yVal>
          <c:bubbleSize>
            <c:numRef>
              <c:f>Sheet1!$C$2:$C$5</c:f>
              <c:numCache>
                <c:formatCode>General</c:formatCode>
                <c:ptCount val="4"/>
                <c:pt idx="0">
                  <c:v>99993318</c:v>
                </c:pt>
                <c:pt idx="1">
                  <c:v>22083602</c:v>
                </c:pt>
                <c:pt idx="2">
                  <c:v>11823541</c:v>
                </c:pt>
                <c:pt idx="3">
                  <c:v>2636149</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377FFF2-A2C9-42C6-9120-0DEE21380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2EC5FBA-29F8-477F-9E36-B7EC2AA9B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81036F3-E855-4154-A471-3BFFCE5B4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0419EFA-3D99-4363-96D3-25D214DFFA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89ED4E8B-E1EF-4138-B6C2-2165748212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21E8AD5-D735-4806-94DA-1BB7AD904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2B85E5D-0CFA-4B87-9D99-D7A7FAECA3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94B8225-FF0A-4518-9FF4-68657C6621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887</c:v>
                </c:pt>
                <c:pt idx="1">
                  <c:v>2.2936000000000001</c:v>
                </c:pt>
                <c:pt idx="2">
                  <c:v>2.7347999999999999</c:v>
                </c:pt>
                <c:pt idx="3">
                  <c:v>3.0028000000000001</c:v>
                </c:pt>
              </c:numCache>
            </c:numRef>
          </c:xVal>
          <c:yVal>
            <c:numRef>
              <c:f>Sheet1!$B$2:$B$5</c:f>
              <c:numCache>
                <c:formatCode>General</c:formatCode>
                <c:ptCount val="4"/>
                <c:pt idx="0">
                  <c:v>1.0009999999999999</c:v>
                </c:pt>
                <c:pt idx="1">
                  <c:v>0.67</c:v>
                </c:pt>
                <c:pt idx="2">
                  <c:v>1.853</c:v>
                </c:pt>
                <c:pt idx="3">
                  <c:v>1.5209999999999999</c:v>
                </c:pt>
              </c:numCache>
            </c:numRef>
          </c:yVal>
          <c:bubbleSize>
            <c:numRef>
              <c:f>Sheet1!$C$2:$C$5</c:f>
              <c:numCache>
                <c:formatCode>General</c:formatCode>
                <c:ptCount val="4"/>
                <c:pt idx="0">
                  <c:v>18935384</c:v>
                </c:pt>
                <c:pt idx="1">
                  <c:v>2504979</c:v>
                </c:pt>
                <c:pt idx="2">
                  <c:v>2314948</c:v>
                </c:pt>
                <c:pt idx="3">
                  <c:v>42661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42F59A9-3261-4604-B82A-A2A8AE77A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C05EE28-D847-4EEB-9A57-2FB587F0F6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4A8B2AD-74B7-4159-949E-D31395A85D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13FD6F5-6085-4163-BED9-76B2A958CC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9CB3F02-FFC1-4C81-A292-E33002CDF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DDE6D88-F8D7-4C92-85E1-568BC59133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F4A8E9A-600E-4897-AF4F-D3D8F2731B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84F549A-190F-45E8-95FF-9EAD8CE87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959000000000001</c:v>
                </c:pt>
                <c:pt idx="1">
                  <c:v>2.0539000000000001</c:v>
                </c:pt>
                <c:pt idx="2">
                  <c:v>2.6819999999999999</c:v>
                </c:pt>
                <c:pt idx="3">
                  <c:v>3.7010999999999998</c:v>
                </c:pt>
              </c:numCache>
            </c:numRef>
          </c:xVal>
          <c:yVal>
            <c:numRef>
              <c:f>Sheet1!$B$2:$B$5</c:f>
              <c:numCache>
                <c:formatCode>General</c:formatCode>
                <c:ptCount val="4"/>
                <c:pt idx="0">
                  <c:v>1.042</c:v>
                </c:pt>
                <c:pt idx="1">
                  <c:v>0.629</c:v>
                </c:pt>
                <c:pt idx="2">
                  <c:v>1.804</c:v>
                </c:pt>
                <c:pt idx="3">
                  <c:v>1.266</c:v>
                </c:pt>
              </c:numCache>
            </c:numRef>
          </c:yVal>
          <c:bubbleSize>
            <c:numRef>
              <c:f>Sheet1!$C$2:$C$5</c:f>
              <c:numCache>
                <c:formatCode>General</c:formatCode>
                <c:ptCount val="4"/>
                <c:pt idx="0">
                  <c:v>14944759</c:v>
                </c:pt>
                <c:pt idx="1">
                  <c:v>2456999</c:v>
                </c:pt>
                <c:pt idx="2">
                  <c:v>1686737</c:v>
                </c:pt>
                <c:pt idx="3">
                  <c:v>437701</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559C508-474A-4043-8ACF-992AC0C36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1E7B769-FA97-45FF-B5E6-E025936D7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EB0BF9B-9B01-492F-A29D-9AD428F7A8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9AA1C78-F94E-49AC-98A3-7EC796771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AD09BBF-BB9E-41D9-98E9-93C842C7D3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2321752-4DC0-4422-BBEC-6750959F3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8623A33-8056-4690-9304-2CF06A5ED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32E808B-8260-4177-A0C1-86F92F4E50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38</c:v>
                </c:pt>
                <c:pt idx="1">
                  <c:v>1.4815</c:v>
                </c:pt>
                <c:pt idx="2">
                  <c:v>2.4367999999999999</c:v>
                </c:pt>
                <c:pt idx="3">
                  <c:v>2.4342000000000001</c:v>
                </c:pt>
                <c:pt idx="4">
                  <c:v>2.6006</c:v>
                </c:pt>
                <c:pt idx="5">
                  <c:v>1.7744</c:v>
                </c:pt>
              </c:numCache>
            </c:numRef>
          </c:xVal>
          <c:yVal>
            <c:numRef>
              <c:f>Sheet1!$B$2:$B$7</c:f>
              <c:numCache>
                <c:formatCode>General</c:formatCode>
                <c:ptCount val="6"/>
                <c:pt idx="0">
                  <c:v>1.1299999999999999</c:v>
                </c:pt>
                <c:pt idx="1">
                  <c:v>0.68100000000000005</c:v>
                </c:pt>
                <c:pt idx="2">
                  <c:v>1.0249999999999999</c:v>
                </c:pt>
                <c:pt idx="3">
                  <c:v>1.3740000000000001</c:v>
                </c:pt>
                <c:pt idx="4">
                  <c:v>1.0740000000000001</c:v>
                </c:pt>
                <c:pt idx="5">
                  <c:v>1.155</c:v>
                </c:pt>
              </c:numCache>
            </c:numRef>
          </c:yVal>
          <c:bubbleSize>
            <c:numRef>
              <c:f>Sheet1!$C$2:$C$7</c:f>
              <c:numCache>
                <c:formatCode>General</c:formatCode>
                <c:ptCount val="6"/>
                <c:pt idx="0">
                  <c:v>83559931</c:v>
                </c:pt>
                <c:pt idx="1">
                  <c:v>33615603</c:v>
                </c:pt>
                <c:pt idx="2">
                  <c:v>26692802</c:v>
                </c:pt>
                <c:pt idx="3">
                  <c:v>17556624</c:v>
                </c:pt>
                <c:pt idx="4">
                  <c:v>7736534</c:v>
                </c:pt>
                <c:pt idx="5">
                  <c:v>3496877</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6076EA5-F7E1-4FAB-A664-9A3B3228EB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6B1A3F0-6E7B-42E6-AD72-4618C195CD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751A3B-AC6E-45B8-9619-35DEF6814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4DF17FB-603E-44D5-82AA-4185C49F4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4687184-A763-46A5-822D-C9B54CFFB9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B2BF4C-F1C8-4065-8701-BFDCB22A83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477B5E3-9231-4813-B273-8ECC29854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610F414-A778-474C-B64B-0B8C76E96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31000000000001</c:v>
                </c:pt>
                <c:pt idx="1">
                  <c:v>2.4175</c:v>
                </c:pt>
                <c:pt idx="2">
                  <c:v>1.6344000000000001</c:v>
                </c:pt>
                <c:pt idx="3">
                  <c:v>2.4710000000000001</c:v>
                </c:pt>
                <c:pt idx="4">
                  <c:v>2.6836000000000002</c:v>
                </c:pt>
                <c:pt idx="5">
                  <c:v>1.8423</c:v>
                </c:pt>
              </c:numCache>
            </c:numRef>
          </c:xVal>
          <c:yVal>
            <c:numRef>
              <c:f>Sheet1!$B$2:$B$7</c:f>
              <c:numCache>
                <c:formatCode>General</c:formatCode>
                <c:ptCount val="6"/>
                <c:pt idx="0">
                  <c:v>1.0940000000000001</c:v>
                </c:pt>
                <c:pt idx="1">
                  <c:v>0.96</c:v>
                </c:pt>
                <c:pt idx="2">
                  <c:v>0.69299999999999995</c:v>
                </c:pt>
                <c:pt idx="3">
                  <c:v>1.3120000000000001</c:v>
                </c:pt>
                <c:pt idx="4">
                  <c:v>1.0009999999999999</c:v>
                </c:pt>
                <c:pt idx="5">
                  <c:v>1.105</c:v>
                </c:pt>
              </c:numCache>
            </c:numRef>
          </c:yVal>
          <c:bubbleSize>
            <c:numRef>
              <c:f>Sheet1!$C$2:$C$7</c:f>
              <c:numCache>
                <c:formatCode>General</c:formatCode>
                <c:ptCount val="6"/>
                <c:pt idx="0">
                  <c:v>14488211</c:v>
                </c:pt>
                <c:pt idx="1">
                  <c:v>4809021</c:v>
                </c:pt>
                <c:pt idx="2">
                  <c:v>3845963</c:v>
                </c:pt>
                <c:pt idx="3">
                  <c:v>3342792</c:v>
                </c:pt>
                <c:pt idx="4">
                  <c:v>2100704</c:v>
                </c:pt>
                <c:pt idx="5">
                  <c:v>60663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7CFF44D-B359-4B49-92DA-B130C551E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A46781B-C612-40A5-AE5E-6638E1CA3E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3055848-3F1B-4FFC-9B96-4EAC4610E6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E8E8A6F-04FA-4ADC-B4AE-591C53650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6B29F66-D76A-445A-8142-387E6BA68A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E123C00-FDFB-41D4-B97C-883BCC2035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BAF0A30-4678-4FBE-A66A-59FCB1DAAB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61EA093-E62B-4D27-AFE9-E111B59C4D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397999999999998</c:v>
                </c:pt>
                <c:pt idx="1">
                  <c:v>2.4401999999999999</c:v>
                </c:pt>
                <c:pt idx="2">
                  <c:v>1.3731</c:v>
                </c:pt>
                <c:pt idx="3">
                  <c:v>2.5295000000000001</c:v>
                </c:pt>
                <c:pt idx="4">
                  <c:v>2.4830000000000001</c:v>
                </c:pt>
              </c:numCache>
            </c:numRef>
          </c:xVal>
          <c:yVal>
            <c:numRef>
              <c:f>Sheet1!$B$2:$B$6</c:f>
              <c:numCache>
                <c:formatCode>General</c:formatCode>
                <c:ptCount val="5"/>
                <c:pt idx="0">
                  <c:v>1.079</c:v>
                </c:pt>
                <c:pt idx="1">
                  <c:v>0.96299999999999997</c:v>
                </c:pt>
                <c:pt idx="2">
                  <c:v>0.67600000000000005</c:v>
                </c:pt>
                <c:pt idx="3">
                  <c:v>1.3320000000000001</c:v>
                </c:pt>
                <c:pt idx="4">
                  <c:v>0.98599999999999999</c:v>
                </c:pt>
              </c:numCache>
            </c:numRef>
          </c:yVal>
          <c:bubbleSize>
            <c:numRef>
              <c:f>Sheet1!$C$2:$C$6</c:f>
              <c:numCache>
                <c:formatCode>General</c:formatCode>
                <c:ptCount val="5"/>
                <c:pt idx="0">
                  <c:v>13711807</c:v>
                </c:pt>
                <c:pt idx="1">
                  <c:v>3679488</c:v>
                </c:pt>
                <c:pt idx="2">
                  <c:v>3677885</c:v>
                </c:pt>
                <c:pt idx="3">
                  <c:v>3642925</c:v>
                </c:pt>
                <c:pt idx="4">
                  <c:v>91138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E3C574-9B6B-4B7D-BE61-5222E38439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7D0231E-982A-44C3-93D3-B869984B4B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B0B3597-00AD-476A-8C84-2712F1FAD8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BF6907D-8AF6-4F9E-BD8D-1E66AD4F5C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64B42DF-0679-42D5-8972-5950495090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355A68E-BF0E-4516-92F5-B63365E931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C83F439-0B56-49DE-821B-1C50E6D25E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7105A7-C9CB-4350-8C09-83B119A8D2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581999999999999</c:v>
                </c:pt>
                <c:pt idx="1">
                  <c:v>2.5396999999999998</c:v>
                </c:pt>
                <c:pt idx="2">
                  <c:v>2.4697</c:v>
                </c:pt>
                <c:pt idx="3">
                  <c:v>2.7305000000000001</c:v>
                </c:pt>
                <c:pt idx="4">
                  <c:v>2.2523</c:v>
                </c:pt>
              </c:numCache>
            </c:numRef>
          </c:xVal>
          <c:yVal>
            <c:numRef>
              <c:f>Sheet1!$B$2:$B$6</c:f>
              <c:numCache>
                <c:formatCode>General</c:formatCode>
                <c:ptCount val="5"/>
                <c:pt idx="0">
                  <c:v>0.89400000000000002</c:v>
                </c:pt>
                <c:pt idx="1">
                  <c:v>1.0389999999999999</c:v>
                </c:pt>
                <c:pt idx="2">
                  <c:v>1.1779999999999999</c:v>
                </c:pt>
                <c:pt idx="3">
                  <c:v>1.4279999999999999</c:v>
                </c:pt>
                <c:pt idx="4">
                  <c:v>1.4730000000000001</c:v>
                </c:pt>
              </c:numCache>
            </c:numRef>
          </c:yVal>
          <c:bubbleSize>
            <c:numRef>
              <c:f>Sheet1!$C$2:$C$6</c:f>
              <c:numCache>
                <c:formatCode>General</c:formatCode>
                <c:ptCount val="5"/>
                <c:pt idx="0">
                  <c:v>254514232</c:v>
                </c:pt>
                <c:pt idx="1">
                  <c:v>90931649</c:v>
                </c:pt>
                <c:pt idx="2">
                  <c:v>41232866</c:v>
                </c:pt>
                <c:pt idx="3">
                  <c:v>9755885</c:v>
                </c:pt>
                <c:pt idx="4">
                  <c:v>47181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5E49729-52F7-4675-80A7-F3D6DA8E4E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4B8911-5BAA-49F7-83E0-65757C7081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9E428D9-8946-4F79-BFF1-050993321D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2594B9D-3908-4C16-88EC-CA142420B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8C603BE-9916-4F31-BB06-3B1573C742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207D45F-20AB-4371-AA5B-59085FDC6E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63CBB6-D1D1-4742-B03D-8FF8BFF955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CAB67C-0E89-4F13-9037-76D51F7C89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492</c:v>
                </c:pt>
                <c:pt idx="1">
                  <c:v>2.5594000000000001</c:v>
                </c:pt>
                <c:pt idx="2">
                  <c:v>2.6497000000000002</c:v>
                </c:pt>
                <c:pt idx="3">
                  <c:v>2.6737000000000002</c:v>
                </c:pt>
                <c:pt idx="4">
                  <c:v>2.1617000000000002</c:v>
                </c:pt>
              </c:numCache>
            </c:numRef>
          </c:xVal>
          <c:yVal>
            <c:numRef>
              <c:f>Sheet1!$B$2:$B$6</c:f>
              <c:numCache>
                <c:formatCode>General</c:formatCode>
                <c:ptCount val="5"/>
                <c:pt idx="0">
                  <c:v>0.89800000000000002</c:v>
                </c:pt>
                <c:pt idx="1">
                  <c:v>0.97299999999999998</c:v>
                </c:pt>
                <c:pt idx="2">
                  <c:v>1.1850000000000001</c:v>
                </c:pt>
                <c:pt idx="3">
                  <c:v>1.29</c:v>
                </c:pt>
                <c:pt idx="4">
                  <c:v>1.304</c:v>
                </c:pt>
              </c:numCache>
            </c:numRef>
          </c:yVal>
          <c:bubbleSize>
            <c:numRef>
              <c:f>Sheet1!$C$2:$C$6</c:f>
              <c:numCache>
                <c:formatCode>General</c:formatCode>
                <c:ptCount val="5"/>
                <c:pt idx="0">
                  <c:v>41826347</c:v>
                </c:pt>
                <c:pt idx="1">
                  <c:v>14865379</c:v>
                </c:pt>
                <c:pt idx="2">
                  <c:v>7961029</c:v>
                </c:pt>
                <c:pt idx="3">
                  <c:v>1935509</c:v>
                </c:pt>
                <c:pt idx="4">
                  <c:v>128934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8D5BF4A-FF80-41B4-951C-E8AC305C56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0A7AFCB-5EB3-468B-9298-2FA7BC79F8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281315CE-398A-45CB-B2D1-0F07595078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0B40C35-C3E6-4B94-AA89-59345FED7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3AF29ED-5CC0-4D19-A0E4-421B4953D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61E8CCC-002D-4AA5-A7EB-93B1091B86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224A4951-8E20-41BE-AE1D-945A510DE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B3AE950-BD9E-4D9E-AA13-F84254C18C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5875999999999999</c:v>
                </c:pt>
                <c:pt idx="1">
                  <c:v>2.0409000000000002</c:v>
                </c:pt>
                <c:pt idx="2">
                  <c:v>4.2450000000000001</c:v>
                </c:pt>
                <c:pt idx="3">
                  <c:v>3.7193999999999998</c:v>
                </c:pt>
                <c:pt idx="4">
                  <c:v>2.7090000000000001</c:v>
                </c:pt>
                <c:pt idx="5">
                  <c:v>1.2703</c:v>
                </c:pt>
              </c:numCache>
            </c:numRef>
          </c:xVal>
          <c:yVal>
            <c:numRef>
              <c:f>Sheet1!$B$2:$B$7</c:f>
              <c:numCache>
                <c:formatCode>General</c:formatCode>
                <c:ptCount val="6"/>
                <c:pt idx="0">
                  <c:v>0.83799999999999997</c:v>
                </c:pt>
                <c:pt idx="1">
                  <c:v>1.097</c:v>
                </c:pt>
                <c:pt idx="2">
                  <c:v>1.583</c:v>
                </c:pt>
                <c:pt idx="3">
                  <c:v>1.4410000000000001</c:v>
                </c:pt>
                <c:pt idx="4">
                  <c:v>1.4570000000000001</c:v>
                </c:pt>
                <c:pt idx="5">
                  <c:v>0.86599999999999999</c:v>
                </c:pt>
              </c:numCache>
            </c:numRef>
          </c:yVal>
          <c:bubbleSize>
            <c:numRef>
              <c:f>Sheet1!$C$2:$C$7</c:f>
              <c:numCache>
                <c:formatCode>General</c:formatCode>
                <c:ptCount val="6"/>
                <c:pt idx="0">
                  <c:v>3832147</c:v>
                </c:pt>
                <c:pt idx="1">
                  <c:v>2828625</c:v>
                </c:pt>
                <c:pt idx="2">
                  <c:v>442886</c:v>
                </c:pt>
                <c:pt idx="3">
                  <c:v>266365</c:v>
                </c:pt>
                <c:pt idx="4">
                  <c:v>173582</c:v>
                </c:pt>
                <c:pt idx="5">
                  <c:v>47</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La Belle Etoile</c:v>
                  </c:pt>
                  <c:pt idx="3">
                    <c:v>Raguin</c:v>
                  </c:pt>
                  <c:pt idx="4">
                    <c:v>Boursin</c:v>
                  </c:pt>
                  <c:pt idx="5">
                    <c:v>La Vache Qui Rit</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96947B9-BF8F-40A6-928C-AAE0FC84E1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7583D2F-6E2A-4AAC-8573-06C5E6D7C7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1D0AF1-D34F-41EC-96FC-7294110294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8FB01C1-F864-44A4-A492-D6DC25C33E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BF4DEF3-0A68-4B49-B9B3-1A13C7BEE2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B4AA5EC-C81A-4BAF-8B61-C3AFE0ECD3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3CC059D-0958-4528-88AC-C3BFC45E4F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829D6298-51F2-44D1-8258-69F9E53DFF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205000000000001</c:v>
                </c:pt>
                <c:pt idx="1">
                  <c:v>2.6160000000000001</c:v>
                </c:pt>
                <c:pt idx="2">
                  <c:v>2.4775999999999998</c:v>
                </c:pt>
                <c:pt idx="3">
                  <c:v>2.9125000000000001</c:v>
                </c:pt>
                <c:pt idx="4">
                  <c:v>2.4173</c:v>
                </c:pt>
              </c:numCache>
            </c:numRef>
          </c:xVal>
          <c:yVal>
            <c:numRef>
              <c:f>Sheet1!$B$2:$B$6</c:f>
              <c:numCache>
                <c:formatCode>General</c:formatCode>
                <c:ptCount val="5"/>
                <c:pt idx="0">
                  <c:v>0.874</c:v>
                </c:pt>
                <c:pt idx="1">
                  <c:v>1.081</c:v>
                </c:pt>
                <c:pt idx="2">
                  <c:v>1.2390000000000001</c:v>
                </c:pt>
                <c:pt idx="3">
                  <c:v>1.5640000000000001</c:v>
                </c:pt>
                <c:pt idx="4">
                  <c:v>1.6259999999999999</c:v>
                </c:pt>
              </c:numCache>
            </c:numRef>
          </c:yVal>
          <c:bubbleSize>
            <c:numRef>
              <c:f>Sheet1!$C$2:$C$6</c:f>
              <c:numCache>
                <c:formatCode>General</c:formatCode>
                <c:ptCount val="5"/>
                <c:pt idx="0">
                  <c:v>28870053</c:v>
                </c:pt>
                <c:pt idx="1">
                  <c:v>16997250</c:v>
                </c:pt>
                <c:pt idx="2">
                  <c:v>3881891</c:v>
                </c:pt>
                <c:pt idx="3">
                  <c:v>1520505</c:v>
                </c:pt>
                <c:pt idx="4">
                  <c:v>772136</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2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449.5</c:v>
                </c:pt>
                <c:pt idx="1">
                  <c:v>4.7</c:v>
                </c:pt>
                <c:pt idx="2">
                  <c:v>174.8</c:v>
                </c:pt>
                <c:pt idx="3">
                  <c:v>17.600000000000001</c:v>
                </c:pt>
                <c:pt idx="4">
                  <c:v>137.19999999999999</c:v>
                </c:pt>
                <c:pt idx="5">
                  <c:v>1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8B9-48D6-87E2-6852F57C1A71}"/>
                </c:ext>
              </c:extLst>
            </c:dLbl>
            <c:dLbl>
              <c:idx val="5"/>
              <c:tx>
                <c:rich>
                  <a:bodyPr/>
                  <a:lstStyle/>
                  <a:p>
                    <a:r>
                      <a:t>1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58B9-48D6-87E2-6852F57C1A7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744999999999999</c:v>
                </c:pt>
                <c:pt idx="1">
                  <c:v>18.772300000000001</c:v>
                </c:pt>
                <c:pt idx="2">
                  <c:v>11.113099999999999</c:v>
                </c:pt>
                <c:pt idx="3">
                  <c:v>15.264099999999999</c:v>
                </c:pt>
                <c:pt idx="4">
                  <c:v>12.121</c:v>
                </c:pt>
                <c:pt idx="5">
                  <c:v>13.0668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3</c:v>
                </c:pt>
                <c:pt idx="4">
                  <c:v>24.2</c:v>
                </c:pt>
                <c:pt idx="5">
                  <c:v>18.8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D26-4B25-9602-4C6C070FBDDE}"/>
                </c:ext>
              </c:extLst>
            </c:dLbl>
            <c:dLbl>
              <c:idx val="5"/>
              <c:tx>
                <c:rich>
                  <a:bodyPr/>
                  <a:lstStyle/>
                  <a:p>
                    <a:r>
                      <a:t>1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D26-4B25-9602-4C6C070FBDD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7705</c:v>
                </c:pt>
                <c:pt idx="4">
                  <c:v>12.568</c:v>
                </c:pt>
                <c:pt idx="5">
                  <c:v>12.5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55.3</c:v>
                </c:pt>
                <c:pt idx="1">
                  <c:v>0.8</c:v>
                </c:pt>
                <c:pt idx="2">
                  <c:v>25.7</c:v>
                </c:pt>
                <c:pt idx="3">
                  <c:v>3.6</c:v>
                </c:pt>
                <c:pt idx="4">
                  <c:v>19.5</c:v>
                </c:pt>
                <c:pt idx="5">
                  <c:v>14.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874-42D7-8E3B-0BBF1450AB7C}"/>
                </c:ext>
              </c:extLst>
            </c:dLbl>
            <c:dLbl>
              <c:idx val="5"/>
              <c:tx>
                <c:rich>
                  <a:bodyPr/>
                  <a:lstStyle/>
                  <a:p>
                    <a:r>
                      <a:t>13.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874-42D7-8E3B-0BBF1450AB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425000000000001</c:v>
                </c:pt>
                <c:pt idx="1">
                  <c:v>20.2014</c:v>
                </c:pt>
                <c:pt idx="2">
                  <c:v>11.765700000000001</c:v>
                </c:pt>
                <c:pt idx="3">
                  <c:v>15.6707</c:v>
                </c:pt>
                <c:pt idx="4">
                  <c:v>12.8139</c:v>
                </c:pt>
                <c:pt idx="5">
                  <c:v>13.3579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449.5</c:v>
                </c:pt>
                <c:pt idx="1">
                  <c:v>0</c:v>
                </c:pt>
                <c:pt idx="2">
                  <c:v>174.8</c:v>
                </c:pt>
                <c:pt idx="3">
                  <c:v>1.3</c:v>
                </c:pt>
                <c:pt idx="4">
                  <c:v>137.19999999999999</c:v>
                </c:pt>
                <c:pt idx="5">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FC1-4DDB-991C-07975FC78DAD}"/>
                </c:ext>
              </c:extLst>
            </c:dLbl>
            <c:dLbl>
              <c:idx val="5"/>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FC1-4DDB-991C-07975FC78DA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744999999999999</c:v>
                </c:pt>
                <c:pt idx="1">
                  <c:v>0</c:v>
                </c:pt>
                <c:pt idx="2">
                  <c:v>11.113099999999999</c:v>
                </c:pt>
                <c:pt idx="3">
                  <c:v>16.765899999999998</c:v>
                </c:pt>
                <c:pt idx="4">
                  <c:v>12.121</c:v>
                </c:pt>
                <c:pt idx="5">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449.5</c:v>
                </c:pt>
                <c:pt idx="1">
                  <c:v>0</c:v>
                </c:pt>
                <c:pt idx="2">
                  <c:v>174.8</c:v>
                </c:pt>
                <c:pt idx="3">
                  <c:v>0</c:v>
                </c:pt>
                <c:pt idx="4">
                  <c:v>137.19999999999999</c:v>
                </c:pt>
                <c:pt idx="5">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4642-4651-BF38-DD6BAFE60ACE}"/>
                </c:ext>
              </c:extLst>
            </c:dLbl>
            <c:dLbl>
              <c:idx val="5"/>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4642-4651-BF38-DD6BAFE60AC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744999999999999</c:v>
                </c:pt>
                <c:pt idx="1">
                  <c:v>0</c:v>
                </c:pt>
                <c:pt idx="2">
                  <c:v>11.113099999999999</c:v>
                </c:pt>
                <c:pt idx="3">
                  <c:v>13</c:v>
                </c:pt>
                <c:pt idx="4">
                  <c:v>12.121</c:v>
                </c:pt>
                <c:pt idx="5">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449.5</c:v>
                </c:pt>
                <c:pt idx="1">
                  <c:v>4.7</c:v>
                </c:pt>
                <c:pt idx="2">
                  <c:v>174.8</c:v>
                </c:pt>
                <c:pt idx="3">
                  <c:v>16.3</c:v>
                </c:pt>
                <c:pt idx="4">
                  <c:v>137.19999999999999</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0BE-416C-BD4F-0C4EC5ADAA4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0BE-416C-BD4F-0C4EC5ADAA4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744999999999999</c:v>
                </c:pt>
                <c:pt idx="1">
                  <c:v>18.772300000000001</c:v>
                </c:pt>
                <c:pt idx="2">
                  <c:v>11.113099999999999</c:v>
                </c:pt>
                <c:pt idx="3">
                  <c:v>15.1593</c:v>
                </c:pt>
                <c:pt idx="4">
                  <c:v>12.12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3</c:v>
                </c:pt>
                <c:pt idx="4">
                  <c:v>24.2</c:v>
                </c:pt>
                <c:pt idx="5">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0D3-4220-9866-8DD75DF1F8BC}"/>
                </c:ext>
              </c:extLst>
            </c:dLbl>
            <c:dLbl>
              <c:idx val="5"/>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0D3-4220-9866-8DD75DF1F8B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6.921199999999999</c:v>
                </c:pt>
                <c:pt idx="4">
                  <c:v>12.568</c:v>
                </c:pt>
                <c:pt idx="5">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c:v>
                </c:pt>
                <c:pt idx="4">
                  <c:v>24.2</c:v>
                </c:pt>
                <c:pt idx="5">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6832-4D16-A781-C3E0578B0304}"/>
                </c:ext>
              </c:extLst>
            </c:dLbl>
            <c:dLbl>
              <c:idx val="5"/>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6832-4D16-A781-C3E0578B030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3</c:v>
                </c:pt>
                <c:pt idx="4">
                  <c:v>12.568</c:v>
                </c:pt>
                <c:pt idx="5">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c:v>
                </c:pt>
                <c:pt idx="4">
                  <c:v>24.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92A-4428-84A5-3FB639C9F15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92A-4428-84A5-3FB639C9F15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6629</c:v>
                </c:pt>
                <c:pt idx="4">
                  <c:v>12.56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01BFC84-5286-47A8-8C5F-EF530E5827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0D8AD0B-C751-45CA-935F-0D94436CDA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60C24F7-9237-424B-9675-E806631E79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EC948E-A037-4586-B8A2-496F2BE99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47A27D0-A178-4F06-9F99-09431B5833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598C138-D235-4CE8-94D7-E983C09FFA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986D16-B9CB-40AC-B2A6-496BCE4B7E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E59B2A-0DEE-4C50-8E56-77082F6C6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55.3</c:v>
                </c:pt>
                <c:pt idx="1">
                  <c:v>0</c:v>
                </c:pt>
                <c:pt idx="2">
                  <c:v>25.7</c:v>
                </c:pt>
                <c:pt idx="3">
                  <c:v>0.2</c:v>
                </c:pt>
                <c:pt idx="4">
                  <c:v>19.5</c:v>
                </c:pt>
                <c:pt idx="5">
                  <c:v>4.5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9.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0BD-4F9C-8135-FB30D562169C}"/>
                </c:ext>
              </c:extLst>
            </c:dLbl>
            <c:dLbl>
              <c:idx val="5"/>
              <c:tx>
                <c:rich>
                  <a:bodyPr/>
                  <a:lstStyle/>
                  <a:p>
                    <a:r>
                      <a:t>1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0BD-4F9C-8135-FB30D562169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425000000000001</c:v>
                </c:pt>
                <c:pt idx="1">
                  <c:v>0</c:v>
                </c:pt>
                <c:pt idx="2">
                  <c:v>11.765700000000001</c:v>
                </c:pt>
                <c:pt idx="3">
                  <c:v>19.272300000000001</c:v>
                </c:pt>
                <c:pt idx="4">
                  <c:v>12.8139</c:v>
                </c:pt>
                <c:pt idx="5">
                  <c:v>13.1583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55.3</c:v>
                </c:pt>
                <c:pt idx="1">
                  <c:v>0</c:v>
                </c:pt>
                <c:pt idx="2">
                  <c:v>25.7</c:v>
                </c:pt>
                <c:pt idx="3">
                  <c:v>0</c:v>
                </c:pt>
                <c:pt idx="4">
                  <c:v>19.5</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2EB-4EEA-B279-074EA7C34DAB}"/>
                </c:ext>
              </c:extLst>
            </c:dLbl>
            <c:dLbl>
              <c:idx val="5"/>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2EB-4EEA-B279-074EA7C34DA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425000000000001</c:v>
                </c:pt>
                <c:pt idx="1">
                  <c:v>0</c:v>
                </c:pt>
                <c:pt idx="2">
                  <c:v>11.765700000000001</c:v>
                </c:pt>
                <c:pt idx="3">
                  <c:v>0</c:v>
                </c:pt>
                <c:pt idx="4">
                  <c:v>12.8139</c:v>
                </c:pt>
                <c:pt idx="5">
                  <c:v>11.2734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55.3</c:v>
                </c:pt>
                <c:pt idx="1">
                  <c:v>0.8</c:v>
                </c:pt>
                <c:pt idx="2">
                  <c:v>25.7</c:v>
                </c:pt>
                <c:pt idx="3">
                  <c:v>3.5</c:v>
                </c:pt>
                <c:pt idx="4">
                  <c:v>19.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DC6-4018-B75A-F5DC191E14C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DC6-4018-B75A-F5DC191E14C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425000000000001</c:v>
                </c:pt>
                <c:pt idx="1">
                  <c:v>20.2014</c:v>
                </c:pt>
                <c:pt idx="2">
                  <c:v>11.765700000000001</c:v>
                </c:pt>
                <c:pt idx="3">
                  <c:v>15.525</c:v>
                </c:pt>
                <c:pt idx="4">
                  <c:v>12.813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BB6-4D69-8189-04C0F8D722D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4BB6-4D69-8189-04C0F8D722D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299.5999999999999</c:v>
                </c:pt>
                <c:pt idx="1">
                  <c:v>29.3</c:v>
                </c:pt>
                <c:pt idx="2">
                  <c:v>59.4</c:v>
                </c:pt>
                <c:pt idx="3">
                  <c:v>0</c:v>
                </c:pt>
                <c:pt idx="4">
                  <c:v>54.7</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BB6-4D69-8189-04C0F8D722D3}"/>
                </c:ext>
              </c:extLst>
            </c:dLbl>
            <c:dLbl>
              <c:idx val="1"/>
              <c:tx>
                <c:rich>
                  <a:bodyPr/>
                  <a:lstStyle/>
                  <a:p>
                    <a:r>
                      <a:t>1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BB6-4D69-8189-04C0F8D722D3}"/>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BB6-4D69-8189-04C0F8D722D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BB6-4D69-8189-04C0F8D722D3}"/>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BB6-4D69-8189-04C0F8D722D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BB6-4D69-8189-04C0F8D722D3}"/>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4BB6-4D69-8189-04C0F8D722D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4BB6-4D69-8189-04C0F8D722D3}"/>
                </c:ext>
              </c:extLst>
            </c:dLbl>
            <c:dLbl>
              <c:idx val="8"/>
              <c:tx>
                <c:rich>
                  <a:bodyPr/>
                  <a:lstStyle/>
                  <a:p>
                    <a:r>
                      <a:t>1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4BB6-4D69-8189-04C0F8D722D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4BB6-4D69-8189-04C0F8D722D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58999999999999</c:v>
                </c:pt>
                <c:pt idx="1">
                  <c:v>13.0609</c:v>
                </c:pt>
                <c:pt idx="2">
                  <c:v>10.482799999999999</c:v>
                </c:pt>
                <c:pt idx="3">
                  <c:v>0</c:v>
                </c:pt>
                <c:pt idx="4">
                  <c:v>19.860499999999998</c:v>
                </c:pt>
                <c:pt idx="5">
                  <c:v>0</c:v>
                </c:pt>
                <c:pt idx="6">
                  <c:v>12.739599999999999</c:v>
                </c:pt>
                <c:pt idx="7">
                  <c:v>0</c:v>
                </c:pt>
                <c:pt idx="8">
                  <c:v>11.552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251-4174-B898-2B10F82E0AD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251-4174-B898-2B10F82E0AD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299.5999999999999</c:v>
                </c:pt>
                <c:pt idx="1">
                  <c:v>35.799999999999997</c:v>
                </c:pt>
                <c:pt idx="2">
                  <c:v>59.4</c:v>
                </c:pt>
                <c:pt idx="3">
                  <c:v>0</c:v>
                </c:pt>
                <c:pt idx="4">
                  <c:v>54.7</c:v>
                </c:pt>
                <c:pt idx="5">
                  <c:v>0</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251-4174-B898-2B10F82E0ADE}"/>
                </c:ext>
              </c:extLst>
            </c:dLbl>
            <c:dLbl>
              <c:idx val="1"/>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251-4174-B898-2B10F82E0ADE}"/>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251-4174-B898-2B10F82E0AD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251-4174-B898-2B10F82E0ADE}"/>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251-4174-B898-2B10F82E0AD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251-4174-B898-2B10F82E0ADE}"/>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251-4174-B898-2B10F82E0AD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251-4174-B898-2B10F82E0ADE}"/>
                </c:ext>
              </c:extLst>
            </c:dLbl>
            <c:dLbl>
              <c:idx val="8"/>
              <c:tx>
                <c:rich>
                  <a:bodyPr/>
                  <a:lstStyle/>
                  <a:p>
                    <a:r>
                      <a:t>1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251-4174-B898-2B10F82E0AD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251-4174-B898-2B10F82E0AD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58999999999999</c:v>
                </c:pt>
                <c:pt idx="1">
                  <c:v>10.585000000000001</c:v>
                </c:pt>
                <c:pt idx="2">
                  <c:v>10.482799999999999</c:v>
                </c:pt>
                <c:pt idx="3">
                  <c:v>0</c:v>
                </c:pt>
                <c:pt idx="4">
                  <c:v>19.860499999999998</c:v>
                </c:pt>
                <c:pt idx="5">
                  <c:v>0</c:v>
                </c:pt>
                <c:pt idx="6">
                  <c:v>12.739599999999999</c:v>
                </c:pt>
                <c:pt idx="7">
                  <c:v>0</c:v>
                </c:pt>
                <c:pt idx="8">
                  <c:v>11.552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90F-486F-9F78-57912690F6B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790F-486F-9F78-57912690F6B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Aperitif</c:v>
                  </c:pt>
                  <c:pt idx="6">
                    <c:v>Bloc</c:v>
                  </c:pt>
                  <c:pt idx="8">
                    <c:v>Specialite</c:v>
                  </c:pt>
                </c:lvl>
              </c:multiLvlStrCache>
            </c:multiLvlStrRef>
          </c:cat>
          <c:val>
            <c:numRef>
              <c:f>Sheet1!$C$2:$C$11</c:f>
              <c:numCache>
                <c:formatCode>General</c:formatCode>
                <c:ptCount val="10"/>
                <c:pt idx="0">
                  <c:v>1299.5999999999999</c:v>
                </c:pt>
                <c:pt idx="1">
                  <c:v>21</c:v>
                </c:pt>
                <c:pt idx="2">
                  <c:v>59.4</c:v>
                </c:pt>
                <c:pt idx="3">
                  <c:v>0</c:v>
                </c:pt>
                <c:pt idx="4">
                  <c:v>54.7</c:v>
                </c:pt>
                <c:pt idx="5">
                  <c:v>4.8</c:v>
                </c:pt>
                <c:pt idx="6">
                  <c:v>40.299999999999997</c:v>
                </c:pt>
                <c:pt idx="7">
                  <c:v>0</c:v>
                </c:pt>
                <c:pt idx="8">
                  <c:v>27.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0F-486F-9F78-57912690F6B3}"/>
                </c:ext>
              </c:extLst>
            </c:dLbl>
            <c:dLbl>
              <c:idx val="1"/>
              <c:tx>
                <c:rich>
                  <a:bodyPr/>
                  <a:lstStyle/>
                  <a:p>
                    <a:r>
                      <a:t>1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0F-486F-9F78-57912690F6B3}"/>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0F-486F-9F78-57912690F6B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0F-486F-9F78-57912690F6B3}"/>
                </c:ext>
              </c:extLst>
            </c:dLbl>
            <c:dLbl>
              <c:idx val="4"/>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0F-486F-9F78-57912690F6B3}"/>
                </c:ext>
              </c:extLst>
            </c:dLbl>
            <c:dLbl>
              <c:idx val="5"/>
              <c:tx>
                <c:rich>
                  <a:bodyPr/>
                  <a:lstStyle/>
                  <a:p>
                    <a:r>
                      <a:t>3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0F-486F-9F78-57912690F6B3}"/>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0F-486F-9F78-57912690F6B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0F-486F-9F78-57912690F6B3}"/>
                </c:ext>
              </c:extLst>
            </c:dLbl>
            <c:dLbl>
              <c:idx val="8"/>
              <c:tx>
                <c:rich>
                  <a:bodyPr/>
                  <a:lstStyle/>
                  <a:p>
                    <a:r>
                      <a:t>11.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0F-486F-9F78-57912690F6B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0F-486F-9F78-57912690F6B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Aperitif</c:v>
                  </c:pt>
                  <c:pt idx="6">
                    <c:v>Bloc</c:v>
                  </c:pt>
                  <c:pt idx="8">
                    <c:v>Specialite</c:v>
                  </c:pt>
                </c:lvl>
              </c:multiLvlStrCache>
            </c:multiLvlStrRef>
          </c:cat>
          <c:val>
            <c:numRef>
              <c:f>Sheet1!$D$2:$D$11</c:f>
              <c:numCache>
                <c:formatCode>General</c:formatCode>
                <c:ptCount val="10"/>
                <c:pt idx="0">
                  <c:v>11.558999999999999</c:v>
                </c:pt>
                <c:pt idx="1">
                  <c:v>15.8439</c:v>
                </c:pt>
                <c:pt idx="2">
                  <c:v>10.482799999999999</c:v>
                </c:pt>
                <c:pt idx="3">
                  <c:v>0</c:v>
                </c:pt>
                <c:pt idx="4">
                  <c:v>19.860499999999998</c:v>
                </c:pt>
                <c:pt idx="5">
                  <c:v>35.055900000000001</c:v>
                </c:pt>
                <c:pt idx="6">
                  <c:v>12.739599999999999</c:v>
                </c:pt>
                <c:pt idx="7">
                  <c:v>0</c:v>
                </c:pt>
                <c:pt idx="8">
                  <c:v>11.552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221.9</c:v>
                </c:pt>
                <c:pt idx="1">
                  <c:v>5.8</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08E1-4DE7-A8A5-A75EC7FB2B30}"/>
                </c:ext>
              </c:extLst>
            </c:dLbl>
            <c:dLbl>
              <c:idx val="1"/>
              <c:tx>
                <c:rich>
                  <a:bodyPr/>
                  <a:lstStyle/>
                  <a:p>
                    <a:r>
                      <a:t>1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08E1-4DE7-A8A5-A75EC7FB2B30}"/>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8E1-4DE7-A8A5-A75EC7FB2B3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8E1-4DE7-A8A5-A75EC7FB2B3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2.4506</c:v>
                </c:pt>
                <c:pt idx="1">
                  <c:v>12.491099999999999</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221.9</c:v>
                </c:pt>
                <c:pt idx="1">
                  <c:v>6.7</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F5C-4D6A-A022-2266A7F725E2}"/>
                </c:ext>
              </c:extLst>
            </c:dLbl>
            <c:dLbl>
              <c:idx val="1"/>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F5C-4D6A-A022-2266A7F725E2}"/>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F5C-4D6A-A022-2266A7F725E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F5C-4D6A-A022-2266A7F725E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2.4506</c:v>
                </c:pt>
                <c:pt idx="1">
                  <c:v>10.2166</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221.9</c:v>
                </c:pt>
                <c:pt idx="1">
                  <c:v>4.3</c:v>
                </c:pt>
                <c:pt idx="2">
                  <c:v>10.3</c:v>
                </c:pt>
                <c:pt idx="3">
                  <c:v>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D93-419F-8D74-7EFA09735474}"/>
                </c:ext>
              </c:extLst>
            </c:dLbl>
            <c:dLbl>
              <c:idx val="1"/>
              <c:tx>
                <c:rich>
                  <a:bodyPr/>
                  <a:lstStyle/>
                  <a:p>
                    <a:r>
                      <a:t>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D93-419F-8D74-7EFA09735474}"/>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D93-419F-8D74-7EFA09735474}"/>
                </c:ext>
              </c:extLst>
            </c:dLbl>
            <c:dLbl>
              <c:idx val="3"/>
              <c:tx>
                <c:rich>
                  <a:bodyPr/>
                  <a:lstStyle/>
                  <a:p>
                    <a:r>
                      <a:t>3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D93-419F-8D74-7EFA0973547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2.4506</c:v>
                </c:pt>
                <c:pt idx="1">
                  <c:v>16.302199999999999</c:v>
                </c:pt>
                <c:pt idx="2">
                  <c:v>20.9879</c:v>
                </c:pt>
                <c:pt idx="3">
                  <c:v>34.598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A56-47C9-B1AA-8F52B11CCD4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AA56-47C9-B1AA-8F52B11CCD4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2.2</c:v>
                </c:pt>
                <c:pt idx="1">
                  <c:v>4.7</c:v>
                </c:pt>
                <c:pt idx="2">
                  <c:v>59.4</c:v>
                </c:pt>
                <c:pt idx="3">
                  <c:v>0</c:v>
                </c:pt>
                <c:pt idx="4">
                  <c:v>40.299999999999997</c:v>
                </c:pt>
                <c:pt idx="5">
                  <c:v>0</c:v>
                </c:pt>
                <c:pt idx="6">
                  <c:v>27.8</c:v>
                </c:pt>
                <c:pt idx="7">
                  <c:v>0</c:v>
                </c:pt>
                <c:pt idx="8">
                  <c:v>18.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A56-47C9-B1AA-8F52B11CCD47}"/>
                </c:ext>
              </c:extLst>
            </c:dLbl>
            <c:dLbl>
              <c:idx val="1"/>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A56-47C9-B1AA-8F52B11CCD47}"/>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A56-47C9-B1AA-8F52B11CCD4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A56-47C9-B1AA-8F52B11CCD47}"/>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A56-47C9-B1AA-8F52B11CCD4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A56-47C9-B1AA-8F52B11CCD47}"/>
                </c:ext>
              </c:extLst>
            </c:dLbl>
            <c:dLbl>
              <c:idx val="6"/>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A56-47C9-B1AA-8F52B11CCD47}"/>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A56-47C9-B1AA-8F52B11CCD47}"/>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A56-47C9-B1AA-8F52B11CCD47}"/>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A56-47C9-B1AA-8F52B11CCD4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687</c:v>
                </c:pt>
                <c:pt idx="1">
                  <c:v>13.3132</c:v>
                </c:pt>
                <c:pt idx="2">
                  <c:v>10.4846</c:v>
                </c:pt>
                <c:pt idx="3">
                  <c:v>0</c:v>
                </c:pt>
                <c:pt idx="4">
                  <c:v>12.7433</c:v>
                </c:pt>
                <c:pt idx="5">
                  <c:v>0</c:v>
                </c:pt>
                <c:pt idx="6">
                  <c:v>11.5617</c:v>
                </c:pt>
                <c:pt idx="7">
                  <c:v>0</c:v>
                </c:pt>
                <c:pt idx="8">
                  <c:v>12.11759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9A6036B2-22BB-48AB-ACBE-D615432EDF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3E6FBF25-C40B-487F-9DD3-EBFA0CB49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FA4338F-4753-4BED-95D8-F425F60EF2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5CA0C4B-7585-450E-AB18-408B75F0B7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51BE56E-0368-41D0-95EB-A334C542A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9DD64C9-8542-40D1-9EA6-92169A86B4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E9FC3703-4291-4E76-884C-14242A5198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CEE92621-026E-44DF-8606-9D8A770537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071-47FE-8D1E-5EC503A2BE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071-47FE-8D1E-5EC503A2BE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2.2</c:v>
                </c:pt>
                <c:pt idx="1">
                  <c:v>5.7</c:v>
                </c:pt>
                <c:pt idx="2">
                  <c:v>59.4</c:v>
                </c:pt>
                <c:pt idx="3">
                  <c:v>0</c:v>
                </c:pt>
                <c:pt idx="4">
                  <c:v>40.299999999999997</c:v>
                </c:pt>
                <c:pt idx="5">
                  <c:v>0</c:v>
                </c:pt>
                <c:pt idx="6">
                  <c:v>27.8</c:v>
                </c:pt>
                <c:pt idx="7">
                  <c:v>0</c:v>
                </c:pt>
                <c:pt idx="8">
                  <c:v>18.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071-47FE-8D1E-5EC503A2BE5C}"/>
                </c:ext>
              </c:extLst>
            </c:dLbl>
            <c:dLbl>
              <c:idx val="1"/>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071-47FE-8D1E-5EC503A2BE5C}"/>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071-47FE-8D1E-5EC503A2BE5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071-47FE-8D1E-5EC503A2BE5C}"/>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071-47FE-8D1E-5EC503A2BE5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071-47FE-8D1E-5EC503A2BE5C}"/>
                </c:ext>
              </c:extLst>
            </c:dLbl>
            <c:dLbl>
              <c:idx val="6"/>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071-47FE-8D1E-5EC503A2BE5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071-47FE-8D1E-5EC503A2BE5C}"/>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071-47FE-8D1E-5EC503A2BE5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071-47FE-8D1E-5EC503A2BE5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687</c:v>
                </c:pt>
                <c:pt idx="1">
                  <c:v>11.273400000000001</c:v>
                </c:pt>
                <c:pt idx="2">
                  <c:v>10.4846</c:v>
                </c:pt>
                <c:pt idx="3">
                  <c:v>0</c:v>
                </c:pt>
                <c:pt idx="4">
                  <c:v>12.7433</c:v>
                </c:pt>
                <c:pt idx="5">
                  <c:v>0</c:v>
                </c:pt>
                <c:pt idx="6">
                  <c:v>11.5617</c:v>
                </c:pt>
                <c:pt idx="7">
                  <c:v>0</c:v>
                </c:pt>
                <c:pt idx="8">
                  <c:v>12.11759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4E1-49E9-AB96-3D1C87781C9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84E1-49E9-AB96-3D1C87781C96}"/>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Tranche A Froid</c:v>
                  </c:pt>
                </c:lvl>
              </c:multiLvlStrCache>
            </c:multiLvlStrRef>
          </c:cat>
          <c:val>
            <c:numRef>
              <c:f>Sheet1!$C$2:$C$11</c:f>
              <c:numCache>
                <c:formatCode>General</c:formatCode>
                <c:ptCount val="10"/>
                <c:pt idx="0">
                  <c:v>172.2</c:v>
                </c:pt>
                <c:pt idx="1">
                  <c:v>4.2</c:v>
                </c:pt>
                <c:pt idx="2">
                  <c:v>59.4</c:v>
                </c:pt>
                <c:pt idx="3">
                  <c:v>0</c:v>
                </c:pt>
                <c:pt idx="4">
                  <c:v>40.299999999999997</c:v>
                </c:pt>
                <c:pt idx="5">
                  <c:v>0</c:v>
                </c:pt>
                <c:pt idx="6">
                  <c:v>27.8</c:v>
                </c:pt>
                <c:pt idx="7">
                  <c:v>0</c:v>
                </c:pt>
                <c:pt idx="8">
                  <c:v>18.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4E1-49E9-AB96-3D1C87781C96}"/>
                </c:ext>
              </c:extLst>
            </c:dLbl>
            <c:dLbl>
              <c:idx val="1"/>
              <c:tx>
                <c:rich>
                  <a:bodyPr/>
                  <a:lstStyle/>
                  <a:p>
                    <a:r>
                      <a:t>1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4E1-49E9-AB96-3D1C87781C96}"/>
                </c:ext>
              </c:extLst>
            </c:dLbl>
            <c:dLbl>
              <c:idx val="2"/>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4E1-49E9-AB96-3D1C87781C9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4E1-49E9-AB96-3D1C87781C96}"/>
                </c:ext>
              </c:extLst>
            </c:dLbl>
            <c:dLbl>
              <c:idx val="4"/>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4E1-49E9-AB96-3D1C87781C9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4E1-49E9-AB96-3D1C87781C96}"/>
                </c:ext>
              </c:extLst>
            </c:dLbl>
            <c:dLbl>
              <c:idx val="6"/>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4E1-49E9-AB96-3D1C87781C96}"/>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4E1-49E9-AB96-3D1C87781C96}"/>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4E1-49E9-AB96-3D1C87781C96}"/>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4E1-49E9-AB96-3D1C87781C9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oft Cheese</c:v>
                  </c:pt>
                  <c:pt idx="2">
                    <c:v>Rape</c:v>
                  </c:pt>
                  <c:pt idx="4">
                    <c:v>Bloc</c:v>
                  </c:pt>
                  <c:pt idx="6">
                    <c:v>Specialite</c:v>
                  </c:pt>
                  <c:pt idx="8">
                    <c:v>Tranche A Froid</c:v>
                  </c:pt>
                </c:lvl>
              </c:multiLvlStrCache>
            </c:multiLvlStrRef>
          </c:cat>
          <c:val>
            <c:numRef>
              <c:f>Sheet1!$D$2:$D$11</c:f>
              <c:numCache>
                <c:formatCode>General</c:formatCode>
                <c:ptCount val="10"/>
                <c:pt idx="0">
                  <c:v>11.5687</c:v>
                </c:pt>
                <c:pt idx="1">
                  <c:v>16.208100000000002</c:v>
                </c:pt>
                <c:pt idx="2">
                  <c:v>10.4846</c:v>
                </c:pt>
                <c:pt idx="3">
                  <c:v>0</c:v>
                </c:pt>
                <c:pt idx="4">
                  <c:v>12.7433</c:v>
                </c:pt>
                <c:pt idx="5">
                  <c:v>0</c:v>
                </c:pt>
                <c:pt idx="6">
                  <c:v>11.5617</c:v>
                </c:pt>
                <c:pt idx="7">
                  <c:v>0</c:v>
                </c:pt>
                <c:pt idx="8">
                  <c:v>12.11759999999999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36A-4BF5-98ED-5D86123F0A9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36A-4BF5-98ED-5D86123F0A9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49.5</c:v>
                </c:pt>
                <c:pt idx="1">
                  <c:v>0</c:v>
                </c:pt>
                <c:pt idx="2">
                  <c:v>296.10000000000002</c:v>
                </c:pt>
                <c:pt idx="3">
                  <c:v>0</c:v>
                </c:pt>
                <c:pt idx="4">
                  <c:v>201.3</c:v>
                </c:pt>
                <c:pt idx="5">
                  <c:v>0</c:v>
                </c:pt>
                <c:pt idx="6">
                  <c:v>174.8</c:v>
                </c:pt>
                <c:pt idx="7">
                  <c:v>1.3</c:v>
                </c:pt>
                <c:pt idx="8">
                  <c:v>137.19999999999999</c:v>
                </c:pt>
                <c:pt idx="9">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36A-4BF5-98ED-5D86123F0A9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36A-4BF5-98ED-5D86123F0A9F}"/>
                </c:ext>
              </c:extLst>
            </c:dLbl>
            <c:dLbl>
              <c:idx val="2"/>
              <c:tx>
                <c:rich>
                  <a:bodyPr/>
                  <a:lstStyle/>
                  <a:p>
                    <a:r>
                      <a:t>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36A-4BF5-98ED-5D86123F0A9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36A-4BF5-98ED-5D86123F0A9F}"/>
                </c:ext>
              </c:extLst>
            </c:dLbl>
            <c:dLbl>
              <c:idx val="4"/>
              <c:tx>
                <c:rich>
                  <a:bodyPr/>
                  <a:lstStyle/>
                  <a:p>
                    <a:r>
                      <a:t>1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36A-4BF5-98ED-5D86123F0A9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36A-4BF5-98ED-5D86123F0A9F}"/>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36A-4BF5-98ED-5D86123F0A9F}"/>
                </c:ext>
              </c:extLst>
            </c:dLbl>
            <c:dLbl>
              <c:idx val="7"/>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36A-4BF5-98ED-5D86123F0A9F}"/>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36A-4BF5-98ED-5D86123F0A9F}"/>
                </c:ext>
              </c:extLst>
            </c:dLbl>
            <c:dLbl>
              <c:idx val="9"/>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36A-4BF5-98ED-5D86123F0A9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44999999999999</c:v>
                </c:pt>
                <c:pt idx="1">
                  <c:v>0</c:v>
                </c:pt>
                <c:pt idx="2">
                  <c:v>8.9087999999999994</c:v>
                </c:pt>
                <c:pt idx="3">
                  <c:v>0</c:v>
                </c:pt>
                <c:pt idx="4">
                  <c:v>13.633699999999999</c:v>
                </c:pt>
                <c:pt idx="5">
                  <c:v>0</c:v>
                </c:pt>
                <c:pt idx="6">
                  <c:v>11.113099999999999</c:v>
                </c:pt>
                <c:pt idx="7">
                  <c:v>16.765899999999998</c:v>
                </c:pt>
                <c:pt idx="8">
                  <c:v>12.121</c:v>
                </c:pt>
                <c:pt idx="9">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0015-4BE7-BFC3-E64DC9798356}"/>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0015-4BE7-BFC3-E64DC9798356}"/>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49.5</c:v>
                </c:pt>
                <c:pt idx="1">
                  <c:v>0</c:v>
                </c:pt>
                <c:pt idx="2">
                  <c:v>296.10000000000002</c:v>
                </c:pt>
                <c:pt idx="3">
                  <c:v>0</c:v>
                </c:pt>
                <c:pt idx="4">
                  <c:v>201.3</c:v>
                </c:pt>
                <c:pt idx="5">
                  <c:v>0</c:v>
                </c:pt>
                <c:pt idx="6">
                  <c:v>174.8</c:v>
                </c:pt>
                <c:pt idx="7">
                  <c:v>0</c:v>
                </c:pt>
                <c:pt idx="8">
                  <c:v>137.19999999999999</c:v>
                </c:pt>
                <c:pt idx="9">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0015-4BE7-BFC3-E64DC9798356}"/>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0015-4BE7-BFC3-E64DC9798356}"/>
                </c:ext>
              </c:extLst>
            </c:dLbl>
            <c:dLbl>
              <c:idx val="2"/>
              <c:tx>
                <c:rich>
                  <a:bodyPr/>
                  <a:lstStyle/>
                  <a:p>
                    <a:r>
                      <a:t>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0015-4BE7-BFC3-E64DC9798356}"/>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0015-4BE7-BFC3-E64DC9798356}"/>
                </c:ext>
              </c:extLst>
            </c:dLbl>
            <c:dLbl>
              <c:idx val="4"/>
              <c:tx>
                <c:rich>
                  <a:bodyPr/>
                  <a:lstStyle/>
                  <a:p>
                    <a:r>
                      <a:t>1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0015-4BE7-BFC3-E64DC9798356}"/>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0015-4BE7-BFC3-E64DC9798356}"/>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0015-4BE7-BFC3-E64DC9798356}"/>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0015-4BE7-BFC3-E64DC9798356}"/>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0015-4BE7-BFC3-E64DC9798356}"/>
                </c:ext>
              </c:extLst>
            </c:dLbl>
            <c:dLbl>
              <c:idx val="9"/>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0015-4BE7-BFC3-E64DC979835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44999999999999</c:v>
                </c:pt>
                <c:pt idx="1">
                  <c:v>0</c:v>
                </c:pt>
                <c:pt idx="2">
                  <c:v>8.9087999999999994</c:v>
                </c:pt>
                <c:pt idx="3">
                  <c:v>0</c:v>
                </c:pt>
                <c:pt idx="4">
                  <c:v>13.633699999999999</c:v>
                </c:pt>
                <c:pt idx="5">
                  <c:v>0</c:v>
                </c:pt>
                <c:pt idx="6">
                  <c:v>11.113099999999999</c:v>
                </c:pt>
                <c:pt idx="7">
                  <c:v>13</c:v>
                </c:pt>
                <c:pt idx="8">
                  <c:v>12.121</c:v>
                </c:pt>
                <c:pt idx="9">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14CF-445A-A4F6-F4E9933895DA}"/>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14CF-445A-A4F6-F4E9933895DA}"/>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49.5</c:v>
                </c:pt>
                <c:pt idx="1">
                  <c:v>4.7</c:v>
                </c:pt>
                <c:pt idx="2">
                  <c:v>296.10000000000002</c:v>
                </c:pt>
                <c:pt idx="3">
                  <c:v>0</c:v>
                </c:pt>
                <c:pt idx="4">
                  <c:v>201.3</c:v>
                </c:pt>
                <c:pt idx="5">
                  <c:v>0</c:v>
                </c:pt>
                <c:pt idx="6">
                  <c:v>174.8</c:v>
                </c:pt>
                <c:pt idx="7">
                  <c:v>16.3</c:v>
                </c:pt>
                <c:pt idx="8">
                  <c:v>137.199999999999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4CF-445A-A4F6-F4E9933895DA}"/>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4CF-445A-A4F6-F4E9933895DA}"/>
                </c:ext>
              </c:extLst>
            </c:dLbl>
            <c:dLbl>
              <c:idx val="2"/>
              <c:tx>
                <c:rich>
                  <a:bodyPr/>
                  <a:lstStyle/>
                  <a:p>
                    <a:r>
                      <a:t>8.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4CF-445A-A4F6-F4E9933895DA}"/>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4CF-445A-A4F6-F4E9933895DA}"/>
                </c:ext>
              </c:extLst>
            </c:dLbl>
            <c:dLbl>
              <c:idx val="4"/>
              <c:tx>
                <c:rich>
                  <a:bodyPr/>
                  <a:lstStyle/>
                  <a:p>
                    <a:r>
                      <a:t>13.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4CF-445A-A4F6-F4E9933895D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4CF-445A-A4F6-F4E9933895DA}"/>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4CF-445A-A4F6-F4E9933895DA}"/>
                </c:ext>
              </c:extLst>
            </c:dLbl>
            <c:dLbl>
              <c:idx val="7"/>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4CF-445A-A4F6-F4E9933895DA}"/>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4CF-445A-A4F6-F4E9933895DA}"/>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4CF-445A-A4F6-F4E9933895D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44999999999999</c:v>
                </c:pt>
                <c:pt idx="1">
                  <c:v>18.772300000000001</c:v>
                </c:pt>
                <c:pt idx="2">
                  <c:v>8.9087999999999994</c:v>
                </c:pt>
                <c:pt idx="3">
                  <c:v>0</c:v>
                </c:pt>
                <c:pt idx="4">
                  <c:v>13.633699999999999</c:v>
                </c:pt>
                <c:pt idx="5">
                  <c:v>0</c:v>
                </c:pt>
                <c:pt idx="6">
                  <c:v>11.113099999999999</c:v>
                </c:pt>
                <c:pt idx="7">
                  <c:v>15.1593</c:v>
                </c:pt>
                <c:pt idx="8">
                  <c:v>12.12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044-4A28-9CED-9163EA04278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044-4A28-9CED-9163EA042785}"/>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3</c:v>
                </c:pt>
                <c:pt idx="8">
                  <c:v>24.2</c:v>
                </c:pt>
                <c:pt idx="9">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044-4A28-9CED-9163EA042785}"/>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044-4A28-9CED-9163EA042785}"/>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044-4A28-9CED-9163EA042785}"/>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044-4A28-9CED-9163EA042785}"/>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044-4A28-9CED-9163EA042785}"/>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044-4A28-9CED-9163EA042785}"/>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044-4A28-9CED-9163EA042785}"/>
                </c:ext>
              </c:extLst>
            </c:dLbl>
            <c:dLbl>
              <c:idx val="7"/>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044-4A28-9CED-9163EA042785}"/>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044-4A28-9CED-9163EA042785}"/>
                </c:ext>
              </c:extLst>
            </c:dLbl>
            <c:dLbl>
              <c:idx val="9"/>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044-4A28-9CED-9163EA04278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6.921199999999999</c:v>
                </c:pt>
                <c:pt idx="8">
                  <c:v>12.568</c:v>
                </c:pt>
                <c:pt idx="9">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629-427A-B883-7BC0DAA7A9A7}"/>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9629-427A-B883-7BC0DAA7A9A7}"/>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c:v>
                </c:pt>
                <c:pt idx="8">
                  <c:v>24.2</c:v>
                </c:pt>
                <c:pt idx="9">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629-427A-B883-7BC0DAA7A9A7}"/>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629-427A-B883-7BC0DAA7A9A7}"/>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629-427A-B883-7BC0DAA7A9A7}"/>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629-427A-B883-7BC0DAA7A9A7}"/>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629-427A-B883-7BC0DAA7A9A7}"/>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629-427A-B883-7BC0DAA7A9A7}"/>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9629-427A-B883-7BC0DAA7A9A7}"/>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629-427A-B883-7BC0DAA7A9A7}"/>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9629-427A-B883-7BC0DAA7A9A7}"/>
                </c:ext>
              </c:extLst>
            </c:dLbl>
            <c:dLbl>
              <c:idx val="9"/>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629-427A-B883-7BC0DAA7A9A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3</c:v>
                </c:pt>
                <c:pt idx="8">
                  <c:v>12.568</c:v>
                </c:pt>
                <c:pt idx="9">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9CC-4543-A2CE-6687981E2E6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9CC-4543-A2CE-6687981E2E6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1.3</c:v>
                </c:pt>
                <c:pt idx="2">
                  <c:v>48.8</c:v>
                </c:pt>
                <c:pt idx="3">
                  <c:v>0</c:v>
                </c:pt>
                <c:pt idx="4">
                  <c:v>33</c:v>
                </c:pt>
                <c:pt idx="5">
                  <c:v>0</c:v>
                </c:pt>
                <c:pt idx="6">
                  <c:v>29.7</c:v>
                </c:pt>
                <c:pt idx="7">
                  <c:v>3</c:v>
                </c:pt>
                <c:pt idx="8">
                  <c:v>24.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9CC-4543-A2CE-6687981E2E6E}"/>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9CC-4543-A2CE-6687981E2E6E}"/>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9CC-4543-A2CE-6687981E2E6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9CC-4543-A2CE-6687981E2E6E}"/>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9CC-4543-A2CE-6687981E2E6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9CC-4543-A2CE-6687981E2E6E}"/>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9CC-4543-A2CE-6687981E2E6E}"/>
                </c:ext>
              </c:extLst>
            </c:dLbl>
            <c:dLbl>
              <c:idx val="7"/>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9CC-4543-A2CE-6687981E2E6E}"/>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9CC-4543-A2CE-6687981E2E6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9CC-4543-A2CE-6687981E2E6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18.035499999999999</c:v>
                </c:pt>
                <c:pt idx="2">
                  <c:v>9.4540000000000006</c:v>
                </c:pt>
                <c:pt idx="3">
                  <c:v>0</c:v>
                </c:pt>
                <c:pt idx="4">
                  <c:v>15.096</c:v>
                </c:pt>
                <c:pt idx="5">
                  <c:v>0</c:v>
                </c:pt>
                <c:pt idx="6">
                  <c:v>12.0214</c:v>
                </c:pt>
                <c:pt idx="7">
                  <c:v>15.6629</c:v>
                </c:pt>
                <c:pt idx="8">
                  <c:v>12.56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E78-42E3-962F-6691B4DA41E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E78-42E3-962F-6691B4DA41E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4</c:v>
                </c:pt>
                <c:pt idx="1">
                  <c:v>0</c:v>
                </c:pt>
                <c:pt idx="2">
                  <c:v>55.3</c:v>
                </c:pt>
                <c:pt idx="3">
                  <c:v>0</c:v>
                </c:pt>
                <c:pt idx="4">
                  <c:v>41.1</c:v>
                </c:pt>
                <c:pt idx="5">
                  <c:v>0</c:v>
                </c:pt>
                <c:pt idx="6">
                  <c:v>40.299999999999997</c:v>
                </c:pt>
                <c:pt idx="7">
                  <c:v>0</c:v>
                </c:pt>
                <c:pt idx="8">
                  <c:v>27.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E78-42E3-962F-6691B4DA41E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E78-42E3-962F-6691B4DA41EC}"/>
                </c:ext>
              </c:extLst>
            </c:dLbl>
            <c:dLbl>
              <c:idx val="2"/>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E78-42E3-962F-6691B4DA41E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E78-42E3-962F-6691B4DA41EC}"/>
                </c:ext>
              </c:extLst>
            </c:dLbl>
            <c:dLbl>
              <c:idx val="4"/>
              <c:tx>
                <c:rich>
                  <a:bodyPr/>
                  <a:lstStyle/>
                  <a:p>
                    <a:r>
                      <a:t>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E78-42E3-962F-6691B4DA41E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E78-42E3-962F-6691B4DA41EC}"/>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E78-42E3-962F-6691B4DA41E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E78-42E3-962F-6691B4DA41EC}"/>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E78-42E3-962F-6691B4DA41EC}"/>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E78-42E3-962F-6691B4DA41E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846</c:v>
                </c:pt>
                <c:pt idx="1">
                  <c:v>0</c:v>
                </c:pt>
                <c:pt idx="2">
                  <c:v>12.425000000000001</c:v>
                </c:pt>
                <c:pt idx="3">
                  <c:v>0</c:v>
                </c:pt>
                <c:pt idx="4">
                  <c:v>9.1534999999999993</c:v>
                </c:pt>
                <c:pt idx="5">
                  <c:v>0</c:v>
                </c:pt>
                <c:pt idx="6">
                  <c:v>12.7433</c:v>
                </c:pt>
                <c:pt idx="7">
                  <c:v>0</c:v>
                </c:pt>
                <c:pt idx="8">
                  <c:v>11.561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9CE-4C23-A2EA-6F87C6A7231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89CE-4C23-A2EA-6F87C6A7231F}"/>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4</c:v>
                </c:pt>
                <c:pt idx="1">
                  <c:v>0</c:v>
                </c:pt>
                <c:pt idx="2">
                  <c:v>55.3</c:v>
                </c:pt>
                <c:pt idx="3">
                  <c:v>0</c:v>
                </c:pt>
                <c:pt idx="4">
                  <c:v>41.1</c:v>
                </c:pt>
                <c:pt idx="5">
                  <c:v>0</c:v>
                </c:pt>
                <c:pt idx="6">
                  <c:v>40.299999999999997</c:v>
                </c:pt>
                <c:pt idx="7">
                  <c:v>0</c:v>
                </c:pt>
                <c:pt idx="8">
                  <c:v>27.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9CE-4C23-A2EA-6F87C6A7231F}"/>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9CE-4C23-A2EA-6F87C6A7231F}"/>
                </c:ext>
              </c:extLst>
            </c:dLbl>
            <c:dLbl>
              <c:idx val="2"/>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9CE-4C23-A2EA-6F87C6A7231F}"/>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9CE-4C23-A2EA-6F87C6A7231F}"/>
                </c:ext>
              </c:extLst>
            </c:dLbl>
            <c:dLbl>
              <c:idx val="4"/>
              <c:tx>
                <c:rich>
                  <a:bodyPr/>
                  <a:lstStyle/>
                  <a:p>
                    <a:r>
                      <a:t>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9CE-4C23-A2EA-6F87C6A7231F}"/>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9CE-4C23-A2EA-6F87C6A7231F}"/>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89CE-4C23-A2EA-6F87C6A7231F}"/>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9CE-4C23-A2EA-6F87C6A7231F}"/>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89CE-4C23-A2EA-6F87C6A7231F}"/>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9CE-4C23-A2EA-6F87C6A7231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846</c:v>
                </c:pt>
                <c:pt idx="1">
                  <c:v>0</c:v>
                </c:pt>
                <c:pt idx="2">
                  <c:v>12.425000000000001</c:v>
                </c:pt>
                <c:pt idx="3">
                  <c:v>0</c:v>
                </c:pt>
                <c:pt idx="4">
                  <c:v>9.1534999999999993</c:v>
                </c:pt>
                <c:pt idx="5">
                  <c:v>0</c:v>
                </c:pt>
                <c:pt idx="6">
                  <c:v>12.7433</c:v>
                </c:pt>
                <c:pt idx="7">
                  <c:v>0</c:v>
                </c:pt>
                <c:pt idx="8">
                  <c:v>11.561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C71A7C3-C061-4826-A5C0-6418DF6B96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F5617D-F782-4B39-9A3F-F2A1666C1C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F806D1-1A6B-4C83-BE41-1558FD8121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568B6F-8AE5-4D70-97F3-B1A929F34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77AEF27-8D62-4FCE-90F4-D11DA1A42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3A0FF42-EE3B-4AEC-B6D4-013F66533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9A1BD9D-01DE-45E8-BD75-A459F1A472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7267137-B848-48BE-A62C-BFCA754B63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699999999999998</c:v>
                </c:pt>
                <c:pt idx="1">
                  <c:v>1.17</c:v>
                </c:pt>
                <c:pt idx="2">
                  <c:v>0.81799999999999995</c:v>
                </c:pt>
                <c:pt idx="3">
                  <c:v>1.0940000000000001</c:v>
                </c:pt>
                <c:pt idx="4">
                  <c:v>1.0469999999999999</c:v>
                </c:pt>
                <c:pt idx="5">
                  <c:v>0.97399999999999998</c:v>
                </c:pt>
                <c:pt idx="6">
                  <c:v>1.151</c:v>
                </c:pt>
                <c:pt idx="7">
                  <c:v>1.401</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E3F6-408F-BE68-854F6428DA03}"/>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E3F6-408F-BE68-854F6428DA03}"/>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Salade</c:v>
                  </c:pt>
                  <c:pt idx="4">
                    <c:v>Classique</c:v>
                  </c:pt>
                  <c:pt idx="6">
                    <c:v>Bloc</c:v>
                  </c:pt>
                  <c:pt idx="8">
                    <c:v>Specialite</c:v>
                  </c:pt>
                </c:lvl>
              </c:multiLvlStrCache>
            </c:multiLvlStrRef>
          </c:cat>
          <c:val>
            <c:numRef>
              <c:f>Sheet1!$C$2:$C$11</c:f>
              <c:numCache>
                <c:formatCode>General</c:formatCode>
                <c:ptCount val="10"/>
                <c:pt idx="0">
                  <c:v>59.4</c:v>
                </c:pt>
                <c:pt idx="1">
                  <c:v>0</c:v>
                </c:pt>
                <c:pt idx="2">
                  <c:v>55.3</c:v>
                </c:pt>
                <c:pt idx="3">
                  <c:v>0.8</c:v>
                </c:pt>
                <c:pt idx="4">
                  <c:v>41.1</c:v>
                </c:pt>
                <c:pt idx="5">
                  <c:v>0</c:v>
                </c:pt>
                <c:pt idx="6">
                  <c:v>40.299999999999997</c:v>
                </c:pt>
                <c:pt idx="7">
                  <c:v>0</c:v>
                </c:pt>
                <c:pt idx="8">
                  <c:v>27.8</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4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3F6-408F-BE68-854F6428DA03}"/>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3F6-408F-BE68-854F6428DA03}"/>
                </c:ext>
              </c:extLst>
            </c:dLbl>
            <c:dLbl>
              <c:idx val="2"/>
              <c:tx>
                <c:rich>
                  <a:bodyPr/>
                  <a:lstStyle/>
                  <a:p>
                    <a:r>
                      <a:t>1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3F6-408F-BE68-854F6428DA03}"/>
                </c:ext>
              </c:extLst>
            </c:dLbl>
            <c:dLbl>
              <c:idx val="3"/>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3F6-408F-BE68-854F6428DA03}"/>
                </c:ext>
              </c:extLst>
            </c:dLbl>
            <c:dLbl>
              <c:idx val="4"/>
              <c:tx>
                <c:rich>
                  <a:bodyPr/>
                  <a:lstStyle/>
                  <a:p>
                    <a:r>
                      <a:t>9.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3F6-408F-BE68-854F6428DA0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3F6-408F-BE68-854F6428DA03}"/>
                </c:ext>
              </c:extLst>
            </c:dLbl>
            <c:dLbl>
              <c:idx val="6"/>
              <c:tx>
                <c:rich>
                  <a:bodyPr/>
                  <a:lstStyle/>
                  <a:p>
                    <a:r>
                      <a:t>12.7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E3F6-408F-BE68-854F6428DA03}"/>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E3F6-408F-BE68-854F6428DA03}"/>
                </c:ext>
              </c:extLst>
            </c:dLbl>
            <c:dLbl>
              <c:idx val="8"/>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E3F6-408F-BE68-854F6428DA03}"/>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E3F6-408F-BE68-854F6428DA0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Rape</c:v>
                  </c:pt>
                  <c:pt idx="2">
                    <c:v>Salade</c:v>
                  </c:pt>
                  <c:pt idx="4">
                    <c:v>Classique</c:v>
                  </c:pt>
                  <c:pt idx="6">
                    <c:v>Bloc</c:v>
                  </c:pt>
                  <c:pt idx="8">
                    <c:v>Specialite</c:v>
                  </c:pt>
                </c:lvl>
              </c:multiLvlStrCache>
            </c:multiLvlStrRef>
          </c:cat>
          <c:val>
            <c:numRef>
              <c:f>Sheet1!$D$2:$D$11</c:f>
              <c:numCache>
                <c:formatCode>General</c:formatCode>
                <c:ptCount val="10"/>
                <c:pt idx="0">
                  <c:v>10.4846</c:v>
                </c:pt>
                <c:pt idx="1">
                  <c:v>0</c:v>
                </c:pt>
                <c:pt idx="2">
                  <c:v>12.425000000000001</c:v>
                </c:pt>
                <c:pt idx="3">
                  <c:v>20.2014</c:v>
                </c:pt>
                <c:pt idx="4">
                  <c:v>9.1534999999999993</c:v>
                </c:pt>
                <c:pt idx="5">
                  <c:v>0</c:v>
                </c:pt>
                <c:pt idx="6">
                  <c:v>12.7433</c:v>
                </c:pt>
                <c:pt idx="7">
                  <c:v>0</c:v>
                </c:pt>
                <c:pt idx="8">
                  <c:v>11.5617</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21.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2.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3.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4.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5.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6.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7.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8.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0.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31.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2.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3.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4.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5.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6.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7.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8.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9.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4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41.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2.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3.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4.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5.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6.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7.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8.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9.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50.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51.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2.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3.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4.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5.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6.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chart" Target="../charts/chart57.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chart" Target="../charts/chart58.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chart" Target="../charts/chart59.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chart" Target="../charts/chart60.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8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8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8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90.xml"/><Relationship Id="rId5" Type="http://schemas.openxmlformats.org/officeDocument/2006/relationships/image" Target="../media/image2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28221190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8885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551208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45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26968"/>
            <a:ext cx="4869366" cy="70416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663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83376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9917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84829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7483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96633"/>
            <a:ext cx="4869366" cy="68133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45930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8315473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26461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591346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537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25638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92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2764"/>
            <a:ext cx="4869366" cy="7481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9471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088589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88333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933023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41947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5092964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03937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564955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0422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25782"/>
            <a:ext cx="4869366" cy="6717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3939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31798116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969406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275448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101115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32657"/>
            <a:ext cx="4869366" cy="66952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4886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7414403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893965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8573179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4225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31538829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78630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4521278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47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7026"/>
            <a:ext cx="4869366" cy="70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5866"/>
            <a:ext cx="4869366" cy="141970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493137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668679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0805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5225870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5508"/>
            <a:ext cx="4869366" cy="132006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92922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140281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8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1008"/>
            <a:ext cx="4869366" cy="7159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10045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188455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81467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1412186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4881"/>
            <a:ext cx="4869366" cy="9923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4052"/>
            <a:ext cx="4869366" cy="655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1078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61578406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816779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540901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0932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4172"/>
            <a:ext cx="4869366" cy="80012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229046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7723586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30456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458437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082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3824"/>
            <a:ext cx="4869366" cy="72813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9274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461491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260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7429"/>
            <a:ext cx="4869366" cy="7990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00921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73844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00340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263048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39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8390"/>
            <a:ext cx="4869366" cy="78235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18985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657232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4505"/>
            <a:ext cx="4869366" cy="9562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6931"/>
            <a:ext cx="4869366" cy="63207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798754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470515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3573"/>
            <a:ext cx="4869366" cy="9235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2792"/>
            <a:ext cx="4869366" cy="610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79625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2992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0309"/>
            <a:ext cx="4869366" cy="88332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28901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01242987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570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8582"/>
            <a:ext cx="4869366" cy="72330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6335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7390615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2816885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135464026"/>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8176735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Ingredient A Chaud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5594551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470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69914"/>
            <a:ext cx="4869366" cy="72286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713398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835801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09129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40262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627423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2701926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796914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807321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97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3605"/>
            <a:ext cx="4869366" cy="760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4099"/>
            <a:ext cx="4869366" cy="15414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440560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836871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0891"/>
            <a:ext cx="4869366" cy="16046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5953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184681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51326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3009567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831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91008"/>
            <a:ext cx="4869366" cy="7159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79812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939417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35847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550257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64881"/>
            <a:ext cx="4869366" cy="9923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74052"/>
            <a:ext cx="4869366" cy="6559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1587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3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49736698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149011662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427228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563074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5590178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La Belle Etoi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4463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178588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9660443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0737943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8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4623707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728106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4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Ingredient A Chaud (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Mille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59001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2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248895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52631151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08831263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236564921"/>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tc>
                  <a:txBody>
                    <a:bodyPr/>
                    <a:lstStyle/>
                    <a:p>
                      <a:pPr algn="ctr">
                        <a:defRPr sz="1100">
                          <a:latin typeface="Nexa Book"/>
                        </a:defRPr>
                      </a:pPr>
                      <a:r>
                        <a:rPr b="1">
                          <a:solidFill>
                            <a:srgbClr val="575555"/>
                          </a:solidFill>
                        </a:rPr>
                        <a:t>Ingredient A Chaud</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9411838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162643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9/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517766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99719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35623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387974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595779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01648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195906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013594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775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18001906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05799530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58948233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2544260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709145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7634952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120439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86576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26779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695713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4.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013033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503978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28526658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69203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258446670"/>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972903309"/>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40111422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735596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058257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957944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732903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945168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2397961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32400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902457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594291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6962327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95667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9/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35566367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561599986"/>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3682168328"/>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8615164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1429389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9/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01933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TotalTime>
  <Words>9155</Words>
  <Application>Microsoft Office PowerPoint</Application>
  <PresentationFormat>On-screen Show (16:9)</PresentationFormat>
  <Paragraphs>2636</Paragraphs>
  <Slides>91</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1"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09T10:0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